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 id="2147483823" r:id="rId5"/>
  </p:sldMasterIdLst>
  <p:notesMasterIdLst>
    <p:notesMasterId r:id="rId13"/>
  </p:notesMasterIdLst>
  <p:handoutMasterIdLst>
    <p:handoutMasterId r:id="rId14"/>
  </p:handoutMasterIdLst>
  <p:sldIdLst>
    <p:sldId id="458" r:id="rId6"/>
    <p:sldId id="3517" r:id="rId7"/>
    <p:sldId id="3501" r:id="rId8"/>
    <p:sldId id="3504" r:id="rId9"/>
    <p:sldId id="3461" r:id="rId10"/>
    <p:sldId id="3460" r:id="rId11"/>
    <p:sldId id="3510" r:id="rId12"/>
  </p:sldIdLst>
  <p:sldSz cx="9144000" cy="6858000" type="screen4x3"/>
  <p:notesSz cx="9939338" cy="6807200"/>
  <p:custDataLst>
    <p:tags r:id="rId15"/>
  </p:custDataLst>
  <p:defaultTextStyle>
    <a:defPPr>
      <a:defRPr lang="en-US"/>
    </a:defPPr>
    <a:lvl1pPr marL="0" algn="l" defTabSz="457173" rtl="0" eaLnBrk="1" latinLnBrk="0" hangingPunct="1">
      <a:defRPr sz="1800" kern="1200">
        <a:solidFill>
          <a:schemeClr val="tx1"/>
        </a:solidFill>
        <a:latin typeface="+mn-lt"/>
        <a:ea typeface="+mn-ea"/>
        <a:cs typeface="+mn-cs"/>
      </a:defRPr>
    </a:lvl1pPr>
    <a:lvl2pPr marL="457173" algn="l" defTabSz="457173" rtl="0" eaLnBrk="1" latinLnBrk="0" hangingPunct="1">
      <a:defRPr sz="1800" kern="1200">
        <a:solidFill>
          <a:schemeClr val="tx1"/>
        </a:solidFill>
        <a:latin typeface="+mn-lt"/>
        <a:ea typeface="+mn-ea"/>
        <a:cs typeface="+mn-cs"/>
      </a:defRPr>
    </a:lvl2pPr>
    <a:lvl3pPr marL="914347" algn="l" defTabSz="457173" rtl="0" eaLnBrk="1" latinLnBrk="0" hangingPunct="1">
      <a:defRPr sz="1800" kern="1200">
        <a:solidFill>
          <a:schemeClr val="tx1"/>
        </a:solidFill>
        <a:latin typeface="+mn-lt"/>
        <a:ea typeface="+mn-ea"/>
        <a:cs typeface="+mn-cs"/>
      </a:defRPr>
    </a:lvl3pPr>
    <a:lvl4pPr marL="1371520" algn="l" defTabSz="457173" rtl="0" eaLnBrk="1" latinLnBrk="0" hangingPunct="1">
      <a:defRPr sz="1800" kern="1200">
        <a:solidFill>
          <a:schemeClr val="tx1"/>
        </a:solidFill>
        <a:latin typeface="+mn-lt"/>
        <a:ea typeface="+mn-ea"/>
        <a:cs typeface="+mn-cs"/>
      </a:defRPr>
    </a:lvl4pPr>
    <a:lvl5pPr marL="1828694" algn="l" defTabSz="457173" rtl="0" eaLnBrk="1" latinLnBrk="0" hangingPunct="1">
      <a:defRPr sz="1800" kern="1200">
        <a:solidFill>
          <a:schemeClr val="tx1"/>
        </a:solidFill>
        <a:latin typeface="+mn-lt"/>
        <a:ea typeface="+mn-ea"/>
        <a:cs typeface="+mn-cs"/>
      </a:defRPr>
    </a:lvl5pPr>
    <a:lvl6pPr marL="2285866" algn="l" defTabSz="457173" rtl="0" eaLnBrk="1" latinLnBrk="0" hangingPunct="1">
      <a:defRPr sz="1800" kern="1200">
        <a:solidFill>
          <a:schemeClr val="tx1"/>
        </a:solidFill>
        <a:latin typeface="+mn-lt"/>
        <a:ea typeface="+mn-ea"/>
        <a:cs typeface="+mn-cs"/>
      </a:defRPr>
    </a:lvl6pPr>
    <a:lvl7pPr marL="2743041" algn="l" defTabSz="457173" rtl="0" eaLnBrk="1" latinLnBrk="0" hangingPunct="1">
      <a:defRPr sz="1800" kern="1200">
        <a:solidFill>
          <a:schemeClr val="tx1"/>
        </a:solidFill>
        <a:latin typeface="+mn-lt"/>
        <a:ea typeface="+mn-ea"/>
        <a:cs typeface="+mn-cs"/>
      </a:defRPr>
    </a:lvl7pPr>
    <a:lvl8pPr marL="3200214" algn="l" defTabSz="457173" rtl="0" eaLnBrk="1" latinLnBrk="0" hangingPunct="1">
      <a:defRPr sz="1800" kern="1200">
        <a:solidFill>
          <a:schemeClr val="tx1"/>
        </a:solidFill>
        <a:latin typeface="+mn-lt"/>
        <a:ea typeface="+mn-ea"/>
        <a:cs typeface="+mn-cs"/>
      </a:defRPr>
    </a:lvl8pPr>
    <a:lvl9pPr marL="3657388" algn="l" defTabSz="45717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31C33022-3CA1-41D8-926D-D5C64CDEF7E5}">
          <p14:sldIdLst>
            <p14:sldId id="458"/>
            <p14:sldId id="3517"/>
            <p14:sldId id="3501"/>
            <p14:sldId id="3504"/>
            <p14:sldId id="3461"/>
            <p14:sldId id="3460"/>
            <p14:sldId id="3510"/>
          </p14:sldIdLst>
        </p14:section>
      </p14:sectionLst>
    </p:ext>
    <p:ext uri="{EFAFB233-063F-42B5-8137-9DF3F51BA10A}">
      <p15:sldGuideLst xmlns:p15="http://schemas.microsoft.com/office/powerpoint/2012/main">
        <p15:guide id="1" orient="horz" pos="1842" userDrawn="1">
          <p15:clr>
            <a:srgbClr val="A4A3A4"/>
          </p15:clr>
        </p15:guide>
        <p15:guide id="2" orient="horz" pos="3280" userDrawn="1">
          <p15:clr>
            <a:srgbClr val="A4A3A4"/>
          </p15:clr>
        </p15:guide>
        <p15:guide id="3" orient="horz" pos="2228" userDrawn="1">
          <p15:clr>
            <a:srgbClr val="A4A3A4"/>
          </p15:clr>
        </p15:guide>
        <p15:guide id="4" orient="horz" pos="2614" userDrawn="1">
          <p15:clr>
            <a:srgbClr val="A4A3A4"/>
          </p15:clr>
        </p15:guide>
        <p15:guide id="5" pos="2859" userDrawn="1">
          <p15:clr>
            <a:srgbClr val="A4A3A4"/>
          </p15:clr>
        </p15:guide>
        <p15:guide id="6" orient="horz" pos="1570" userDrawn="1">
          <p15:clr>
            <a:srgbClr val="A4A3A4"/>
          </p15:clr>
        </p15:guide>
        <p15:guide id="7" orient="horz" pos="1616" userDrawn="1">
          <p15:clr>
            <a:srgbClr val="A4A3A4"/>
          </p15:clr>
        </p15:guide>
        <p15:guide id="8" pos="975" userDrawn="1">
          <p15:clr>
            <a:srgbClr val="A4A3A4"/>
          </p15:clr>
        </p15:guide>
        <p15:guide id="9" pos="2555" userDrawn="1">
          <p15:clr>
            <a:srgbClr val="A4A3A4"/>
          </p15:clr>
        </p15:guide>
        <p15:guide id="10" pos="176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ylie Turner" initials="KT" lastIdx="11" clrIdx="6">
    <p:extLst>
      <p:ext uri="{19B8F6BF-5375-455C-9EA6-DF929625EA0E}">
        <p15:presenceInfo xmlns:p15="http://schemas.microsoft.com/office/powerpoint/2012/main" userId="S-1-5-21-2977299124-1876462163-2290217735-9425811" providerId="AD"/>
      </p:ext>
    </p:extLst>
  </p:cmAuthor>
  <p:cmAuthor id="1" name="Microsoft Office User" initials="Office" lastIdx="1" clrIdx="0"/>
  <p:cmAuthor id="2" name="Jabbour, Tony" initials="JT" lastIdx="9" clrIdx="1">
    <p:extLst>
      <p:ext uri="{19B8F6BF-5375-455C-9EA6-DF929625EA0E}">
        <p15:presenceInfo xmlns:p15="http://schemas.microsoft.com/office/powerpoint/2012/main" userId="S-1-5-21-2977299124-1876462163-2290217735-9465576" providerId="AD"/>
      </p:ext>
    </p:extLst>
  </p:cmAuthor>
  <p:cmAuthor id="3" name="Dianna La Grassa" initials="DLG" lastIdx="4" clrIdx="2">
    <p:extLst>
      <p:ext uri="{19B8F6BF-5375-455C-9EA6-DF929625EA0E}">
        <p15:presenceInfo xmlns:p15="http://schemas.microsoft.com/office/powerpoint/2012/main" userId="S-1-5-21-2977299124-1876462163-2290217735-12132236" providerId="AD"/>
      </p:ext>
    </p:extLst>
  </p:cmAuthor>
  <p:cmAuthor id="4" name="Karen Hodge" initials="KH" lastIdx="6" clrIdx="3">
    <p:extLst>
      <p:ext uri="{19B8F6BF-5375-455C-9EA6-DF929625EA0E}">
        <p15:presenceInfo xmlns:p15="http://schemas.microsoft.com/office/powerpoint/2012/main" userId="S-1-5-21-2977299124-1876462163-2290217735-1056363" providerId="AD"/>
      </p:ext>
    </p:extLst>
  </p:cmAuthor>
  <p:cmAuthor id="5" name="SEIP" initials="SEIP" lastIdx="5" clrIdx="4">
    <p:extLst>
      <p:ext uri="{19B8F6BF-5375-455C-9EA6-DF929625EA0E}">
        <p15:presenceInfo xmlns:p15="http://schemas.microsoft.com/office/powerpoint/2012/main" userId="SEIP" providerId="None"/>
      </p:ext>
    </p:extLst>
  </p:cmAuthor>
  <p:cmAuthor id="6" name="Livia Ceccon" initials="LC" lastIdx="1" clrIdx="5">
    <p:extLst>
      <p:ext uri="{19B8F6BF-5375-455C-9EA6-DF929625EA0E}">
        <p15:presenceInfo xmlns:p15="http://schemas.microsoft.com/office/powerpoint/2012/main" userId="S-1-5-21-2977299124-1876462163-2290217735-1219857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1E41"/>
    <a:srgbClr val="19233E"/>
    <a:srgbClr val="D70C3D"/>
    <a:srgbClr val="235B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6" autoAdjust="0"/>
    <p:restoredTop sz="94660"/>
  </p:normalViewPr>
  <p:slideViewPr>
    <p:cSldViewPr snapToGrid="0">
      <p:cViewPr varScale="1">
        <p:scale>
          <a:sx n="107" d="100"/>
          <a:sy n="107" d="100"/>
        </p:scale>
        <p:origin x="1578" y="96"/>
      </p:cViewPr>
      <p:guideLst>
        <p:guide orient="horz" pos="1842"/>
        <p:guide orient="horz" pos="3280"/>
        <p:guide orient="horz" pos="2228"/>
        <p:guide orient="horz" pos="2614"/>
        <p:guide pos="2859"/>
        <p:guide orient="horz" pos="1570"/>
        <p:guide orient="horz" pos="1616"/>
        <p:guide pos="975"/>
        <p:guide pos="2555"/>
        <p:guide pos="1769"/>
      </p:guideLst>
    </p:cSldViewPr>
  </p:slideViewPr>
  <p:notesTextViewPr>
    <p:cViewPr>
      <p:scale>
        <a:sx n="3" d="2"/>
        <a:sy n="3" d="2"/>
      </p:scale>
      <p:origin x="0" y="0"/>
    </p:cViewPr>
  </p:notesTextViewPr>
  <p:sorterViewPr>
    <p:cViewPr varScale="1">
      <p:scale>
        <a:sx n="100" d="100"/>
        <a:sy n="100" d="100"/>
      </p:scale>
      <p:origin x="0" y="-11241"/>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2"/>
                </a:solidFill>
                <a:latin typeface="Montserrat Light" pitchFamily="2" charset="77"/>
                <a:ea typeface="+mn-ea"/>
                <a:cs typeface="+mn-cs"/>
              </a:defRPr>
            </a:pPr>
            <a:r>
              <a:rPr lang="en-AU" b="0">
                <a:latin typeface="+mn-lt"/>
              </a:rPr>
              <a:t>Chart Title</a:t>
            </a:r>
          </a:p>
        </c:rich>
      </c:tx>
      <c:layout>
        <c:manualLayout>
          <c:xMode val="edge"/>
          <c:yMode val="edge"/>
          <c:x val="5.0067121985634906E-2"/>
          <c:y val="1.3324634909076276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2"/>
              </a:solidFill>
              <a:latin typeface="Montserrat Light" pitchFamily="2" charset="77"/>
              <a:ea typeface="+mn-ea"/>
              <a:cs typeface="+mn-cs"/>
            </a:defRPr>
          </a:pPr>
          <a:endParaRPr lang="en-US"/>
        </a:p>
      </c:txPr>
    </c:title>
    <c:autoTitleDeleted val="0"/>
    <c:plotArea>
      <c:layout>
        <c:manualLayout>
          <c:layoutTarget val="inner"/>
          <c:xMode val="edge"/>
          <c:yMode val="edge"/>
          <c:x val="0"/>
          <c:y val="0.15850469155990188"/>
          <c:w val="0.99770930078221387"/>
          <c:h val="0.84045729227549248"/>
        </c:manualLayout>
      </c:layout>
      <c:barChart>
        <c:barDir val="col"/>
        <c:grouping val="percentStacked"/>
        <c:varyColors val="0"/>
        <c:ser>
          <c:idx val="0"/>
          <c:order val="0"/>
          <c:tx>
            <c:strRef>
              <c:f>Sheet1!$B$1</c:f>
              <c:strCache>
                <c:ptCount val="1"/>
                <c:pt idx="0">
                  <c:v>Series 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6E13-44E1-9680-BF397F888C05}"/>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6E13-44E1-9680-BF397F888C05}"/>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6E13-44E1-9680-BF397F888C05}"/>
            </c:ext>
          </c:extLst>
        </c:ser>
        <c:dLbls>
          <c:showLegendKey val="0"/>
          <c:showVal val="0"/>
          <c:showCatName val="0"/>
          <c:showSerName val="0"/>
          <c:showPercent val="0"/>
          <c:showBubbleSize val="0"/>
        </c:dLbls>
        <c:gapWidth val="45"/>
        <c:overlap val="100"/>
        <c:axId val="240315640"/>
        <c:axId val="240315248"/>
      </c:barChart>
      <c:catAx>
        <c:axId val="240315640"/>
        <c:scaling>
          <c:orientation val="minMax"/>
        </c:scaling>
        <c:delete val="1"/>
        <c:axPos val="b"/>
        <c:numFmt formatCode="General" sourceLinked="1"/>
        <c:majorTickMark val="none"/>
        <c:minorTickMark val="none"/>
        <c:tickLblPos val="nextTo"/>
        <c:crossAx val="240315248"/>
        <c:crosses val="autoZero"/>
        <c:auto val="1"/>
        <c:lblAlgn val="ctr"/>
        <c:lblOffset val="100"/>
        <c:noMultiLvlLbl val="0"/>
      </c:catAx>
      <c:valAx>
        <c:axId val="240315248"/>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2403156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0"/>
          <a:lstStyle/>
          <a:p>
            <a:pPr marL="0" marR="0" indent="0" algn="ctr" defTabSz="914400" rtl="0" eaLnBrk="1" fontAlgn="auto" latinLnBrk="0" hangingPunct="1">
              <a:lnSpc>
                <a:spcPct val="100000"/>
              </a:lnSpc>
              <a:spcBef>
                <a:spcPts val="0"/>
              </a:spcBef>
              <a:spcAft>
                <a:spcPts val="0"/>
              </a:spcAft>
              <a:buClrTx/>
              <a:buSzTx/>
              <a:buFontTx/>
              <a:buNone/>
              <a:tabLst/>
              <a:defRPr sz="1600" b="1" i="0" u="none" strike="noStrike" kern="1200" spc="0" baseline="0">
                <a:solidFill>
                  <a:srgbClr val="000000"/>
                </a:solidFill>
                <a:latin typeface="+mn-lt"/>
                <a:ea typeface="+mn-ea"/>
                <a:cs typeface="+mn-cs"/>
              </a:defRPr>
            </a:pPr>
            <a:r>
              <a:rPr lang="en-US" sz="1600" b="0" i="0" kern="1200" spc="0" baseline="0">
                <a:solidFill>
                  <a:srgbClr val="19233E"/>
                </a:solidFill>
                <a:effectLst/>
                <a:latin typeface="+mn-lt"/>
              </a:rPr>
              <a:t>Chart Title</a:t>
            </a:r>
            <a:endParaRPr lang="en-AU" sz="1600" b="0">
              <a:effectLst/>
              <a:latin typeface="+mn-lt"/>
            </a:endParaRPr>
          </a:p>
        </c:rich>
      </c:tx>
      <c:layout>
        <c:manualLayout>
          <c:xMode val="edge"/>
          <c:yMode val="edge"/>
          <c:x val="1.8802394693555564E-2"/>
          <c:y val="1.6662275328469617E-2"/>
        </c:manualLayout>
      </c:layout>
      <c:overlay val="0"/>
      <c:spPr>
        <a:noFill/>
        <a:ln>
          <a:noFill/>
        </a:ln>
        <a:effectLst/>
      </c:spPr>
      <c:txPr>
        <a:bodyPr rot="0" spcFirstLastPara="1" vertOverflow="ellipsis" vert="horz" wrap="square" anchor="t" anchorCtr="0"/>
        <a:lstStyle/>
        <a:p>
          <a:pPr marL="0" marR="0" indent="0" algn="ctr" defTabSz="914400" rtl="0" eaLnBrk="1" fontAlgn="auto" latinLnBrk="0" hangingPunct="1">
            <a:lnSpc>
              <a:spcPct val="100000"/>
            </a:lnSpc>
            <a:spcBef>
              <a:spcPts val="0"/>
            </a:spcBef>
            <a:spcAft>
              <a:spcPts val="0"/>
            </a:spcAft>
            <a:buClrTx/>
            <a:buSzTx/>
            <a:buFontTx/>
            <a:buNone/>
            <a:tabLst/>
            <a:defRPr sz="1600" b="1" i="0" u="none" strike="noStrike" kern="1200" spc="0" baseline="0">
              <a:solidFill>
                <a:srgbClr val="000000"/>
              </a:solidFill>
              <a:latin typeface="+mn-lt"/>
              <a:ea typeface="+mn-ea"/>
              <a:cs typeface="+mn-cs"/>
            </a:defRPr>
          </a:pPr>
          <a:endParaRPr lang="en-US"/>
        </a:p>
      </c:txPr>
    </c:title>
    <c:autoTitleDeleted val="0"/>
    <c:plotArea>
      <c:layout>
        <c:manualLayout>
          <c:layoutTarget val="inner"/>
          <c:xMode val="edge"/>
          <c:yMode val="edge"/>
          <c:x val="0.22139730433599247"/>
          <c:y val="0.18716181113673139"/>
          <c:w val="0.57738947809885199"/>
          <c:h val="0.7978959783777454"/>
        </c:manualLayout>
      </c:layout>
      <c:pieChart>
        <c:varyColors val="1"/>
        <c:ser>
          <c:idx val="0"/>
          <c:order val="0"/>
          <c:tx>
            <c:strRef>
              <c:f>Sheet1!$B$1</c:f>
              <c:strCache>
                <c:ptCount val="1"/>
                <c:pt idx="0">
                  <c:v>Sales</c:v>
                </c:pt>
              </c:strCache>
            </c:strRef>
          </c:tx>
          <c:spPr>
            <a:ln>
              <a:noFill/>
            </a:ln>
          </c:spPr>
          <c:dPt>
            <c:idx val="0"/>
            <c:bubble3D val="0"/>
            <c:spPr>
              <a:pattFill prst="pct90">
                <a:fgClr>
                  <a:schemeClr val="accent5"/>
                </a:fgClr>
                <a:bgClr>
                  <a:schemeClr val="bg1"/>
                </a:bgClr>
              </a:pattFill>
              <a:ln w="19050">
                <a:noFill/>
              </a:ln>
              <a:effectLst/>
            </c:spPr>
            <c:extLst>
              <c:ext xmlns:c16="http://schemas.microsoft.com/office/drawing/2014/chart" uri="{C3380CC4-5D6E-409C-BE32-E72D297353CC}">
                <c16:uniqueId val="{00000001-3507-4096-88DB-1BE9AAD60A27}"/>
              </c:ext>
            </c:extLst>
          </c:dPt>
          <c:dPt>
            <c:idx val="1"/>
            <c:bubble3D val="0"/>
            <c:spPr>
              <a:pattFill prst="pct90">
                <a:fgClr>
                  <a:schemeClr val="accent2"/>
                </a:fgClr>
                <a:bgClr>
                  <a:schemeClr val="bg1"/>
                </a:bgClr>
              </a:pattFill>
              <a:ln w="19050">
                <a:noFill/>
              </a:ln>
              <a:effectLst/>
            </c:spPr>
            <c:extLst>
              <c:ext xmlns:c16="http://schemas.microsoft.com/office/drawing/2014/chart" uri="{C3380CC4-5D6E-409C-BE32-E72D297353CC}">
                <c16:uniqueId val="{00000003-3507-4096-88DB-1BE9AAD60A27}"/>
              </c:ext>
            </c:extLst>
          </c:dPt>
          <c:dPt>
            <c:idx val="2"/>
            <c:bubble3D val="0"/>
            <c:spPr>
              <a:pattFill prst="pct90">
                <a:fgClr>
                  <a:schemeClr val="accent3"/>
                </a:fgClr>
                <a:bgClr>
                  <a:schemeClr val="bg1"/>
                </a:bgClr>
              </a:pattFill>
              <a:ln w="19050">
                <a:noFill/>
              </a:ln>
              <a:effectLst/>
            </c:spPr>
            <c:extLst>
              <c:ext xmlns:c16="http://schemas.microsoft.com/office/drawing/2014/chart" uri="{C3380CC4-5D6E-409C-BE32-E72D297353CC}">
                <c16:uniqueId val="{00000005-3507-4096-88DB-1BE9AAD60A27}"/>
              </c:ext>
            </c:extLst>
          </c:dPt>
          <c:dPt>
            <c:idx val="3"/>
            <c:bubble3D val="0"/>
            <c:spPr>
              <a:pattFill prst="pct90">
                <a:fgClr>
                  <a:schemeClr val="accent6"/>
                </a:fgClr>
                <a:bgClr>
                  <a:schemeClr val="bg1"/>
                </a:bgClr>
              </a:pattFill>
              <a:ln w="19050">
                <a:noFill/>
              </a:ln>
              <a:effectLst/>
            </c:spPr>
            <c:extLst>
              <c:ext xmlns:c16="http://schemas.microsoft.com/office/drawing/2014/chart" uri="{C3380CC4-5D6E-409C-BE32-E72D297353CC}">
                <c16:uniqueId val="{00000007-3507-4096-88DB-1BE9AAD60A27}"/>
              </c:ext>
            </c:extLst>
          </c:dPt>
          <c:dLbls>
            <c:dLbl>
              <c:idx val="2"/>
              <c:tx>
                <c:rich>
                  <a:bodyPr/>
                  <a:lstStyle/>
                  <a:p>
                    <a:fld id="{BC5D0DBC-5192-4D8E-9C93-110176CD87CC}" type="SERIESNAME">
                      <a:rPr lang="en-US">
                        <a:solidFill>
                          <a:schemeClr val="tx2"/>
                        </a:solidFill>
                      </a:rPr>
                      <a:pPr/>
                      <a:t>[SERIES NAME]</a:t>
                    </a:fld>
                    <a:r>
                      <a:rPr lang="en-US" baseline="0"/>
                      <a:t>, </a:t>
                    </a:r>
                    <a:fld id="{4B725BE5-439E-48A7-81A4-165608449EA8}" type="VALUE">
                      <a:rPr lang="en-US" baseline="0"/>
                      <a:pPr/>
                      <a:t>[VALUE]</a:t>
                    </a:fld>
                    <a:endParaRPr lang="en-US" baseline="0"/>
                  </a:p>
                </c:rich>
              </c:tx>
              <c:dLblPos val="outEnd"/>
              <c:showLegendKey val="0"/>
              <c:showVal val="1"/>
              <c:showCatName val="0"/>
              <c:showSerName val="1"/>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3507-4096-88DB-1BE9AAD60A27}"/>
                </c:ext>
              </c:extLst>
            </c:dLbl>
            <c:spPr>
              <a:pattFill prst="pct5">
                <a:fgClr>
                  <a:schemeClr val="accent1"/>
                </a:fgClr>
                <a:bgClr>
                  <a:schemeClr val="bg1"/>
                </a:bgClr>
              </a:patt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2"/>
                    </a:solidFill>
                    <a:latin typeface="+mn-lt"/>
                    <a:ea typeface="+mn-ea"/>
                    <a:cs typeface="+mn-cs"/>
                  </a:defRPr>
                </a:pPr>
                <a:endParaRPr lang="en-US"/>
              </a:p>
            </c:txPr>
            <c:dLblPos val="outEnd"/>
            <c:showLegendKey val="0"/>
            <c:showVal val="1"/>
            <c:showCatName val="0"/>
            <c:showSerName val="1"/>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3507-4096-88DB-1BE9AAD60A2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2"/>
                </a:solidFill>
                <a:latin typeface="Montserrat Light" pitchFamily="2" charset="77"/>
                <a:ea typeface="+mn-ea"/>
                <a:cs typeface="+mn-cs"/>
              </a:defRPr>
            </a:pPr>
            <a:r>
              <a:rPr lang="en-AU" b="0">
                <a:latin typeface="+mn-lt"/>
              </a:rPr>
              <a:t>Chart Title</a:t>
            </a:r>
          </a:p>
        </c:rich>
      </c:tx>
      <c:layout>
        <c:manualLayout>
          <c:xMode val="edge"/>
          <c:yMode val="edge"/>
          <c:x val="5.0067121985634906E-2"/>
          <c:y val="1.3324634909076276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2"/>
              </a:solidFill>
              <a:latin typeface="Montserrat Light" pitchFamily="2" charset="77"/>
              <a:ea typeface="+mn-ea"/>
              <a:cs typeface="+mn-cs"/>
            </a:defRPr>
          </a:pPr>
          <a:endParaRPr lang="en-US"/>
        </a:p>
      </c:txPr>
    </c:title>
    <c:autoTitleDeleted val="0"/>
    <c:plotArea>
      <c:layout>
        <c:manualLayout>
          <c:layoutTarget val="inner"/>
          <c:xMode val="edge"/>
          <c:yMode val="edge"/>
          <c:x val="0"/>
          <c:y val="0.15850469155990188"/>
          <c:w val="0.99770930078221387"/>
          <c:h val="0.84045729227549248"/>
        </c:manualLayout>
      </c:layout>
      <c:barChart>
        <c:barDir val="col"/>
        <c:grouping val="percentStacked"/>
        <c:varyColors val="0"/>
        <c:ser>
          <c:idx val="0"/>
          <c:order val="0"/>
          <c:tx>
            <c:strRef>
              <c:f>Sheet1!$B$1</c:f>
              <c:strCache>
                <c:ptCount val="1"/>
                <c:pt idx="0">
                  <c:v>Series 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6E13-44E1-9680-BF397F888C05}"/>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6E13-44E1-9680-BF397F888C05}"/>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6E13-44E1-9680-BF397F888C05}"/>
            </c:ext>
          </c:extLst>
        </c:ser>
        <c:dLbls>
          <c:showLegendKey val="0"/>
          <c:showVal val="0"/>
          <c:showCatName val="0"/>
          <c:showSerName val="0"/>
          <c:showPercent val="0"/>
          <c:showBubbleSize val="0"/>
        </c:dLbls>
        <c:gapWidth val="45"/>
        <c:overlap val="100"/>
        <c:axId val="240315640"/>
        <c:axId val="240315248"/>
      </c:barChart>
      <c:catAx>
        <c:axId val="240315640"/>
        <c:scaling>
          <c:orientation val="minMax"/>
        </c:scaling>
        <c:delete val="1"/>
        <c:axPos val="b"/>
        <c:numFmt formatCode="General" sourceLinked="1"/>
        <c:majorTickMark val="none"/>
        <c:minorTickMark val="none"/>
        <c:tickLblPos val="nextTo"/>
        <c:crossAx val="240315248"/>
        <c:crosses val="autoZero"/>
        <c:auto val="1"/>
        <c:lblAlgn val="ctr"/>
        <c:lblOffset val="100"/>
        <c:noMultiLvlLbl val="0"/>
      </c:catAx>
      <c:valAx>
        <c:axId val="240315248"/>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2403156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0"/>
          <a:lstStyle/>
          <a:p>
            <a:pPr marL="0" marR="0" indent="0" algn="ctr" defTabSz="914400" rtl="0" eaLnBrk="1" fontAlgn="auto" latinLnBrk="0" hangingPunct="1">
              <a:lnSpc>
                <a:spcPct val="100000"/>
              </a:lnSpc>
              <a:spcBef>
                <a:spcPts val="0"/>
              </a:spcBef>
              <a:spcAft>
                <a:spcPts val="0"/>
              </a:spcAft>
              <a:buClrTx/>
              <a:buSzTx/>
              <a:buFontTx/>
              <a:buNone/>
              <a:tabLst/>
              <a:defRPr sz="1600" b="1" i="0" u="none" strike="noStrike" kern="1200" spc="0" baseline="0">
                <a:solidFill>
                  <a:srgbClr val="000000"/>
                </a:solidFill>
                <a:latin typeface="+mn-lt"/>
                <a:ea typeface="+mn-ea"/>
                <a:cs typeface="+mn-cs"/>
              </a:defRPr>
            </a:pPr>
            <a:r>
              <a:rPr lang="en-US" sz="1600" b="0" i="0" kern="1200" spc="0" baseline="0">
                <a:solidFill>
                  <a:srgbClr val="19233E"/>
                </a:solidFill>
                <a:effectLst/>
                <a:latin typeface="+mn-lt"/>
              </a:rPr>
              <a:t>Chart Title</a:t>
            </a:r>
            <a:endParaRPr lang="en-AU" sz="1600" b="0">
              <a:effectLst/>
              <a:latin typeface="+mn-lt"/>
            </a:endParaRPr>
          </a:p>
        </c:rich>
      </c:tx>
      <c:layout>
        <c:manualLayout>
          <c:xMode val="edge"/>
          <c:yMode val="edge"/>
          <c:x val="1.8802394693555564E-2"/>
          <c:y val="1.6662275328469617E-2"/>
        </c:manualLayout>
      </c:layout>
      <c:overlay val="0"/>
      <c:spPr>
        <a:noFill/>
        <a:ln>
          <a:noFill/>
        </a:ln>
        <a:effectLst/>
      </c:spPr>
      <c:txPr>
        <a:bodyPr rot="0" spcFirstLastPara="1" vertOverflow="ellipsis" vert="horz" wrap="square" anchor="t" anchorCtr="0"/>
        <a:lstStyle/>
        <a:p>
          <a:pPr marL="0" marR="0" indent="0" algn="ctr" defTabSz="914400" rtl="0" eaLnBrk="1" fontAlgn="auto" latinLnBrk="0" hangingPunct="1">
            <a:lnSpc>
              <a:spcPct val="100000"/>
            </a:lnSpc>
            <a:spcBef>
              <a:spcPts val="0"/>
            </a:spcBef>
            <a:spcAft>
              <a:spcPts val="0"/>
            </a:spcAft>
            <a:buClrTx/>
            <a:buSzTx/>
            <a:buFontTx/>
            <a:buNone/>
            <a:tabLst/>
            <a:defRPr sz="1600" b="1" i="0" u="none" strike="noStrike" kern="1200" spc="0" baseline="0">
              <a:solidFill>
                <a:srgbClr val="000000"/>
              </a:solidFill>
              <a:latin typeface="+mn-lt"/>
              <a:ea typeface="+mn-ea"/>
              <a:cs typeface="+mn-cs"/>
            </a:defRPr>
          </a:pPr>
          <a:endParaRPr lang="en-US"/>
        </a:p>
      </c:txPr>
    </c:title>
    <c:autoTitleDeleted val="0"/>
    <c:plotArea>
      <c:layout>
        <c:manualLayout>
          <c:layoutTarget val="inner"/>
          <c:xMode val="edge"/>
          <c:yMode val="edge"/>
          <c:x val="0.22139730433599247"/>
          <c:y val="0.18716181113673139"/>
          <c:w val="0.57738947809885199"/>
          <c:h val="0.7978959783777454"/>
        </c:manualLayout>
      </c:layout>
      <c:pieChart>
        <c:varyColors val="1"/>
        <c:ser>
          <c:idx val="0"/>
          <c:order val="0"/>
          <c:tx>
            <c:strRef>
              <c:f>Sheet1!$B$1</c:f>
              <c:strCache>
                <c:ptCount val="1"/>
                <c:pt idx="0">
                  <c:v>Sales</c:v>
                </c:pt>
              </c:strCache>
            </c:strRef>
          </c:tx>
          <c:spPr>
            <a:ln>
              <a:noFill/>
            </a:ln>
          </c:spPr>
          <c:dPt>
            <c:idx val="0"/>
            <c:bubble3D val="0"/>
            <c:spPr>
              <a:pattFill prst="pct90">
                <a:fgClr>
                  <a:schemeClr val="accent5"/>
                </a:fgClr>
                <a:bgClr>
                  <a:schemeClr val="bg1"/>
                </a:bgClr>
              </a:pattFill>
              <a:ln w="19050">
                <a:noFill/>
              </a:ln>
              <a:effectLst/>
            </c:spPr>
            <c:extLst>
              <c:ext xmlns:c16="http://schemas.microsoft.com/office/drawing/2014/chart" uri="{C3380CC4-5D6E-409C-BE32-E72D297353CC}">
                <c16:uniqueId val="{00000001-3507-4096-88DB-1BE9AAD60A27}"/>
              </c:ext>
            </c:extLst>
          </c:dPt>
          <c:dPt>
            <c:idx val="1"/>
            <c:bubble3D val="0"/>
            <c:spPr>
              <a:pattFill prst="pct90">
                <a:fgClr>
                  <a:schemeClr val="accent2"/>
                </a:fgClr>
                <a:bgClr>
                  <a:schemeClr val="bg1"/>
                </a:bgClr>
              </a:pattFill>
              <a:ln w="19050">
                <a:noFill/>
              </a:ln>
              <a:effectLst/>
            </c:spPr>
            <c:extLst>
              <c:ext xmlns:c16="http://schemas.microsoft.com/office/drawing/2014/chart" uri="{C3380CC4-5D6E-409C-BE32-E72D297353CC}">
                <c16:uniqueId val="{00000003-3507-4096-88DB-1BE9AAD60A27}"/>
              </c:ext>
            </c:extLst>
          </c:dPt>
          <c:dPt>
            <c:idx val="2"/>
            <c:bubble3D val="0"/>
            <c:spPr>
              <a:pattFill prst="pct90">
                <a:fgClr>
                  <a:schemeClr val="accent3"/>
                </a:fgClr>
                <a:bgClr>
                  <a:schemeClr val="bg1"/>
                </a:bgClr>
              </a:pattFill>
              <a:ln w="19050">
                <a:noFill/>
              </a:ln>
              <a:effectLst/>
            </c:spPr>
            <c:extLst>
              <c:ext xmlns:c16="http://schemas.microsoft.com/office/drawing/2014/chart" uri="{C3380CC4-5D6E-409C-BE32-E72D297353CC}">
                <c16:uniqueId val="{00000005-3507-4096-88DB-1BE9AAD60A27}"/>
              </c:ext>
            </c:extLst>
          </c:dPt>
          <c:dPt>
            <c:idx val="3"/>
            <c:bubble3D val="0"/>
            <c:spPr>
              <a:pattFill prst="pct90">
                <a:fgClr>
                  <a:schemeClr val="accent6"/>
                </a:fgClr>
                <a:bgClr>
                  <a:schemeClr val="bg1"/>
                </a:bgClr>
              </a:pattFill>
              <a:ln w="19050">
                <a:noFill/>
              </a:ln>
              <a:effectLst/>
            </c:spPr>
            <c:extLst>
              <c:ext xmlns:c16="http://schemas.microsoft.com/office/drawing/2014/chart" uri="{C3380CC4-5D6E-409C-BE32-E72D297353CC}">
                <c16:uniqueId val="{00000007-3507-4096-88DB-1BE9AAD60A27}"/>
              </c:ext>
            </c:extLst>
          </c:dPt>
          <c:dLbls>
            <c:dLbl>
              <c:idx val="2"/>
              <c:tx>
                <c:rich>
                  <a:bodyPr/>
                  <a:lstStyle/>
                  <a:p>
                    <a:fld id="{BC5D0DBC-5192-4D8E-9C93-110176CD87CC}" type="SERIESNAME">
                      <a:rPr lang="en-US">
                        <a:solidFill>
                          <a:schemeClr val="tx2"/>
                        </a:solidFill>
                      </a:rPr>
                      <a:pPr/>
                      <a:t>[SERIES NAME]</a:t>
                    </a:fld>
                    <a:r>
                      <a:rPr lang="en-US" baseline="0"/>
                      <a:t>, </a:t>
                    </a:r>
                    <a:fld id="{4B725BE5-439E-48A7-81A4-165608449EA8}" type="VALUE">
                      <a:rPr lang="en-US" baseline="0"/>
                      <a:pPr/>
                      <a:t>[VALUE]</a:t>
                    </a:fld>
                    <a:endParaRPr lang="en-US" baseline="0"/>
                  </a:p>
                </c:rich>
              </c:tx>
              <c:dLblPos val="outEnd"/>
              <c:showLegendKey val="0"/>
              <c:showVal val="1"/>
              <c:showCatName val="0"/>
              <c:showSerName val="1"/>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3507-4096-88DB-1BE9AAD60A27}"/>
                </c:ext>
              </c:extLst>
            </c:dLbl>
            <c:spPr>
              <a:pattFill prst="pct5">
                <a:fgClr>
                  <a:schemeClr val="accent1"/>
                </a:fgClr>
                <a:bgClr>
                  <a:schemeClr val="bg1"/>
                </a:bgClr>
              </a:patt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2"/>
                    </a:solidFill>
                    <a:latin typeface="+mn-lt"/>
                    <a:ea typeface="+mn-ea"/>
                    <a:cs typeface="+mn-cs"/>
                  </a:defRPr>
                </a:pPr>
                <a:endParaRPr lang="en-US"/>
              </a:p>
            </c:txPr>
            <c:dLblPos val="outEnd"/>
            <c:showLegendKey val="0"/>
            <c:showVal val="1"/>
            <c:showCatName val="0"/>
            <c:showSerName val="1"/>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3507-4096-88DB-1BE9AAD60A2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742729" cy="1065776"/>
          </a:xfrm>
          <a:prstGeom prst="rect">
            <a:avLst/>
          </a:prstGeom>
        </p:spPr>
        <p:txBody>
          <a:bodyPr vert="horz" lIns="169042" tIns="84521" rIns="169042" bIns="84521" rtlCol="0"/>
          <a:lstStyle>
            <a:lvl1pPr algn="l">
              <a:defRPr sz="2200"/>
            </a:lvl1pPr>
          </a:lstStyle>
          <a:p>
            <a:endParaRPr lang="en-US"/>
          </a:p>
        </p:txBody>
      </p:sp>
      <p:sp>
        <p:nvSpPr>
          <p:cNvPr id="3" name="Date Placeholder 2"/>
          <p:cNvSpPr>
            <a:spLocks noGrp="1"/>
          </p:cNvSpPr>
          <p:nvPr>
            <p:ph type="dt" sz="quarter" idx="1"/>
          </p:nvPr>
        </p:nvSpPr>
        <p:spPr>
          <a:xfrm>
            <a:off x="7507422" y="0"/>
            <a:ext cx="5742729" cy="1065776"/>
          </a:xfrm>
          <a:prstGeom prst="rect">
            <a:avLst/>
          </a:prstGeom>
        </p:spPr>
        <p:txBody>
          <a:bodyPr vert="horz" lIns="169042" tIns="84521" rIns="169042" bIns="84521" rtlCol="0"/>
          <a:lstStyle>
            <a:lvl1pPr algn="r">
              <a:defRPr sz="2200"/>
            </a:lvl1pPr>
          </a:lstStyle>
          <a:p>
            <a:fld id="{2B186FB7-8198-2C41-9C7F-A67099EBC713}" type="datetimeFigureOut">
              <a:rPr lang="en-US" smtClean="0"/>
              <a:t>9/4/2020</a:t>
            </a:fld>
            <a:endParaRPr lang="en-US"/>
          </a:p>
        </p:txBody>
      </p:sp>
      <p:sp>
        <p:nvSpPr>
          <p:cNvPr id="4" name="Footer Placeholder 3"/>
          <p:cNvSpPr>
            <a:spLocks noGrp="1"/>
          </p:cNvSpPr>
          <p:nvPr>
            <p:ph type="ftr" sz="quarter" idx="2"/>
          </p:nvPr>
        </p:nvSpPr>
        <p:spPr>
          <a:xfrm>
            <a:off x="0" y="20151476"/>
            <a:ext cx="5742729" cy="1065773"/>
          </a:xfrm>
          <a:prstGeom prst="rect">
            <a:avLst/>
          </a:prstGeom>
        </p:spPr>
        <p:txBody>
          <a:bodyPr vert="horz" lIns="169042" tIns="84521" rIns="169042" bIns="84521" rtlCol="0" anchor="b"/>
          <a:lstStyle>
            <a:lvl1pPr algn="l">
              <a:defRPr sz="2200"/>
            </a:lvl1pPr>
          </a:lstStyle>
          <a:p>
            <a:endParaRPr lang="en-US"/>
          </a:p>
        </p:txBody>
      </p:sp>
      <p:sp>
        <p:nvSpPr>
          <p:cNvPr id="5" name="Slide Number Placeholder 4"/>
          <p:cNvSpPr>
            <a:spLocks noGrp="1"/>
          </p:cNvSpPr>
          <p:nvPr>
            <p:ph type="sldNum" sz="quarter" idx="3"/>
          </p:nvPr>
        </p:nvSpPr>
        <p:spPr>
          <a:xfrm>
            <a:off x="7507422" y="20151476"/>
            <a:ext cx="5742729" cy="1065773"/>
          </a:xfrm>
          <a:prstGeom prst="rect">
            <a:avLst/>
          </a:prstGeom>
        </p:spPr>
        <p:txBody>
          <a:bodyPr vert="horz" lIns="169042" tIns="84521" rIns="169042" bIns="84521" rtlCol="0" anchor="b"/>
          <a:lstStyle>
            <a:lvl1pPr algn="r">
              <a:defRPr sz="2200"/>
            </a:lvl1pPr>
          </a:lstStyle>
          <a:p>
            <a:fld id="{C9959333-EC29-A740-B340-F32DF9D7D5B5}" type="slidenum">
              <a:rPr lang="en-US" smtClean="0"/>
              <a:t>‹#›</a:t>
            </a:fld>
            <a:endParaRPr lang="en-US"/>
          </a:p>
        </p:txBody>
      </p:sp>
    </p:spTree>
    <p:extLst>
      <p:ext uri="{BB962C8B-B14F-4D97-AF65-F5344CB8AC3E}">
        <p14:creationId xmlns:p14="http://schemas.microsoft.com/office/powerpoint/2010/main" val="8069571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5742729" cy="1064547"/>
          </a:xfrm>
          <a:prstGeom prst="rect">
            <a:avLst/>
          </a:prstGeom>
        </p:spPr>
        <p:txBody>
          <a:bodyPr vert="horz" lIns="169042" tIns="84521" rIns="169042" bIns="84521" rtlCol="0"/>
          <a:lstStyle>
            <a:lvl1pPr algn="l">
              <a:defRPr sz="2200"/>
            </a:lvl1pPr>
          </a:lstStyle>
          <a:p>
            <a:endParaRPr lang="en-AU"/>
          </a:p>
        </p:txBody>
      </p:sp>
      <p:sp>
        <p:nvSpPr>
          <p:cNvPr id="3" name="Date Placeholder 2"/>
          <p:cNvSpPr>
            <a:spLocks noGrp="1"/>
          </p:cNvSpPr>
          <p:nvPr>
            <p:ph type="dt" idx="1"/>
          </p:nvPr>
        </p:nvSpPr>
        <p:spPr>
          <a:xfrm>
            <a:off x="7506655" y="2"/>
            <a:ext cx="5742729" cy="1064547"/>
          </a:xfrm>
          <a:prstGeom prst="rect">
            <a:avLst/>
          </a:prstGeom>
        </p:spPr>
        <p:txBody>
          <a:bodyPr vert="horz" lIns="169042" tIns="84521" rIns="169042" bIns="84521" rtlCol="0"/>
          <a:lstStyle>
            <a:lvl1pPr algn="r">
              <a:defRPr sz="2200"/>
            </a:lvl1pPr>
          </a:lstStyle>
          <a:p>
            <a:fld id="{5832F91E-6BD3-4F0D-9CA3-7829EAE64D63}" type="datetimeFigureOut">
              <a:rPr lang="en-AU" smtClean="0"/>
              <a:t>4/09/2020</a:t>
            </a:fld>
            <a:endParaRPr lang="en-AU"/>
          </a:p>
        </p:txBody>
      </p:sp>
      <p:sp>
        <p:nvSpPr>
          <p:cNvPr id="4" name="Slide Image Placeholder 3"/>
          <p:cNvSpPr>
            <a:spLocks noGrp="1" noRot="1" noChangeAspect="1"/>
          </p:cNvSpPr>
          <p:nvPr>
            <p:ph type="sldImg" idx="2"/>
          </p:nvPr>
        </p:nvSpPr>
        <p:spPr>
          <a:xfrm>
            <a:off x="1852613" y="2652713"/>
            <a:ext cx="9548812" cy="7161212"/>
          </a:xfrm>
          <a:prstGeom prst="rect">
            <a:avLst/>
          </a:prstGeom>
          <a:noFill/>
          <a:ln w="12700">
            <a:solidFill>
              <a:prstClr val="black"/>
            </a:solidFill>
          </a:ln>
        </p:spPr>
        <p:txBody>
          <a:bodyPr vert="horz" lIns="169042" tIns="84521" rIns="169042" bIns="84521" rtlCol="0" anchor="ctr"/>
          <a:lstStyle/>
          <a:p>
            <a:endParaRPr lang="en-AU"/>
          </a:p>
        </p:txBody>
      </p:sp>
      <p:sp>
        <p:nvSpPr>
          <p:cNvPr id="5" name="Notes Placeholder 4"/>
          <p:cNvSpPr>
            <a:spLocks noGrp="1"/>
          </p:cNvSpPr>
          <p:nvPr>
            <p:ph type="body" sz="quarter" idx="3"/>
          </p:nvPr>
        </p:nvSpPr>
        <p:spPr>
          <a:xfrm>
            <a:off x="1325246" y="10210798"/>
            <a:ext cx="10601960" cy="8354292"/>
          </a:xfrm>
          <a:prstGeom prst="rect">
            <a:avLst/>
          </a:prstGeom>
        </p:spPr>
        <p:txBody>
          <a:bodyPr vert="horz" lIns="169042" tIns="84521" rIns="169042" bIns="8452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20152702"/>
            <a:ext cx="5742729" cy="1064544"/>
          </a:xfrm>
          <a:prstGeom prst="rect">
            <a:avLst/>
          </a:prstGeom>
        </p:spPr>
        <p:txBody>
          <a:bodyPr vert="horz" lIns="169042" tIns="84521" rIns="169042" bIns="84521" rtlCol="0" anchor="b"/>
          <a:lstStyle>
            <a:lvl1pPr algn="l">
              <a:defRPr sz="2200"/>
            </a:lvl1pPr>
          </a:lstStyle>
          <a:p>
            <a:endParaRPr lang="en-AU"/>
          </a:p>
        </p:txBody>
      </p:sp>
      <p:sp>
        <p:nvSpPr>
          <p:cNvPr id="7" name="Slide Number Placeholder 6"/>
          <p:cNvSpPr>
            <a:spLocks noGrp="1"/>
          </p:cNvSpPr>
          <p:nvPr>
            <p:ph type="sldNum" sz="quarter" idx="5"/>
          </p:nvPr>
        </p:nvSpPr>
        <p:spPr>
          <a:xfrm>
            <a:off x="7506655" y="20152702"/>
            <a:ext cx="5742729" cy="1064544"/>
          </a:xfrm>
          <a:prstGeom prst="rect">
            <a:avLst/>
          </a:prstGeom>
        </p:spPr>
        <p:txBody>
          <a:bodyPr vert="horz" lIns="169042" tIns="84521" rIns="169042" bIns="84521" rtlCol="0" anchor="b"/>
          <a:lstStyle>
            <a:lvl1pPr algn="r">
              <a:defRPr sz="2200"/>
            </a:lvl1pPr>
          </a:lstStyle>
          <a:p>
            <a:fld id="{D09C5488-DD16-4714-9519-7BE21BA11D4E}" type="slidenum">
              <a:rPr lang="en-AU" smtClean="0"/>
              <a:t>‹#›</a:t>
            </a:fld>
            <a:endParaRPr lang="en-AU"/>
          </a:p>
        </p:txBody>
      </p:sp>
    </p:spTree>
    <p:extLst>
      <p:ext uri="{BB962C8B-B14F-4D97-AF65-F5344CB8AC3E}">
        <p14:creationId xmlns:p14="http://schemas.microsoft.com/office/powerpoint/2010/main" val="2809874824"/>
      </p:ext>
    </p:extLst>
  </p:cSld>
  <p:clrMap bg1="lt1" tx1="dk1" bg2="lt2" tx2="dk2" accent1="accent1" accent2="accent2" accent3="accent3" accent4="accent4" accent5="accent5" accent6="accent6" hlink="hlink" folHlink="folHlink"/>
  <p:notesStyle>
    <a:lvl1pPr marL="0" algn="l" defTabSz="914347" rtl="0" eaLnBrk="1" latinLnBrk="0" hangingPunct="1">
      <a:defRPr sz="1200" kern="1200">
        <a:solidFill>
          <a:schemeClr val="tx1"/>
        </a:solidFill>
        <a:latin typeface="+mn-lt"/>
        <a:ea typeface="+mn-ea"/>
        <a:cs typeface="+mn-cs"/>
      </a:defRPr>
    </a:lvl1pPr>
    <a:lvl2pPr marL="457173" algn="l" defTabSz="914347" rtl="0" eaLnBrk="1" latinLnBrk="0" hangingPunct="1">
      <a:defRPr sz="1200" kern="1200">
        <a:solidFill>
          <a:schemeClr val="tx1"/>
        </a:solidFill>
        <a:latin typeface="+mn-lt"/>
        <a:ea typeface="+mn-ea"/>
        <a:cs typeface="+mn-cs"/>
      </a:defRPr>
    </a:lvl2pPr>
    <a:lvl3pPr marL="914347" algn="l" defTabSz="914347" rtl="0" eaLnBrk="1" latinLnBrk="0" hangingPunct="1">
      <a:defRPr sz="1200" kern="1200">
        <a:solidFill>
          <a:schemeClr val="tx1"/>
        </a:solidFill>
        <a:latin typeface="+mn-lt"/>
        <a:ea typeface="+mn-ea"/>
        <a:cs typeface="+mn-cs"/>
      </a:defRPr>
    </a:lvl3pPr>
    <a:lvl4pPr marL="1371520" algn="l" defTabSz="914347" rtl="0" eaLnBrk="1" latinLnBrk="0" hangingPunct="1">
      <a:defRPr sz="1200" kern="1200">
        <a:solidFill>
          <a:schemeClr val="tx1"/>
        </a:solidFill>
        <a:latin typeface="+mn-lt"/>
        <a:ea typeface="+mn-ea"/>
        <a:cs typeface="+mn-cs"/>
      </a:defRPr>
    </a:lvl4pPr>
    <a:lvl5pPr marL="1828694"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453973" rtl="0" eaLnBrk="1" fontAlgn="auto" latinLnBrk="0" hangingPunct="1">
              <a:lnSpc>
                <a:spcPct val="100000"/>
              </a:lnSpc>
              <a:spcBef>
                <a:spcPts val="0"/>
              </a:spcBef>
              <a:spcAft>
                <a:spcPts val="0"/>
              </a:spcAft>
              <a:buClrTx/>
              <a:buSzTx/>
              <a:buFontTx/>
              <a:buNone/>
              <a:tabLst/>
              <a:defRPr/>
            </a:pPr>
            <a:fld id="{D09C5488-DD16-4714-9519-7BE21BA11D4E}" type="slidenum">
              <a:rPr kumimoji="0" lang="en-AU" sz="2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3973" rtl="0" eaLnBrk="1" fontAlgn="auto" latinLnBrk="0" hangingPunct="1">
                <a:lnSpc>
                  <a:spcPct val="100000"/>
                </a:lnSpc>
                <a:spcBef>
                  <a:spcPts val="0"/>
                </a:spcBef>
                <a:spcAft>
                  <a:spcPts val="0"/>
                </a:spcAft>
                <a:buClrTx/>
                <a:buSzTx/>
                <a:buFontTx/>
                <a:buNone/>
                <a:tabLst/>
                <a:defRPr/>
              </a:pPr>
              <a:t>7</a:t>
            </a:fld>
            <a:endParaRPr kumimoji="0" lang="en-AU" sz="2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05945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vi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255460" y="4048755"/>
            <a:ext cx="3477026" cy="931618"/>
          </a:xfrm>
          <a:prstGeom prst="rect">
            <a:avLst/>
          </a:prstGeom>
        </p:spPr>
        <p:txBody>
          <a:bodyPr wrap="square" lIns="0">
            <a:noAutofit/>
          </a:bodyPr>
          <a:lstStyle>
            <a:lvl1pPr marL="0" indent="0">
              <a:buNone/>
              <a:defRPr sz="150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255462" y="2823581"/>
            <a:ext cx="3477025" cy="1107996"/>
          </a:xfrm>
        </p:spPr>
        <p:txBody>
          <a:bodyPr anchor="b">
            <a:noAutofit/>
          </a:bodyPr>
          <a:lstStyle>
            <a:lvl1pPr>
              <a:lnSpc>
                <a:spcPct val="90000"/>
              </a:lnSpc>
              <a:defRPr sz="300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69" y="365498"/>
            <a:ext cx="1853071" cy="138499"/>
          </a:xfrm>
          <a:prstGeom prst="rect">
            <a:avLst/>
          </a:prstGeom>
          <a:noFill/>
        </p:spPr>
        <p:txBody>
          <a:bodyPr wrap="none" lIns="0" tIns="0" rIns="0" bIns="0" rtlCol="0">
            <a:spAutoFit/>
          </a:bodyPr>
          <a:lstStyle/>
          <a:p>
            <a:r>
              <a:rPr lang="en-AU" sz="900" b="1" i="0">
                <a:solidFill>
                  <a:schemeClr val="bg1"/>
                </a:solidFill>
                <a:latin typeface="Montserrat SemiBold" pitchFamily="2" charset="77"/>
              </a:rPr>
              <a:t>NSW Department of Education</a:t>
            </a:r>
          </a:p>
        </p:txBody>
      </p:sp>
      <p:pic>
        <p:nvPicPr>
          <p:cNvPr id="10" name="Picture 9" descr="NSW Government Logo&#10;&#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3748" y="5912575"/>
            <a:ext cx="665883" cy="720000"/>
          </a:xfrm>
          <a:prstGeom prst="rect">
            <a:avLst/>
          </a:prstGeom>
        </p:spPr>
      </p:pic>
    </p:spTree>
    <p:extLst>
      <p:ext uri="{BB962C8B-B14F-4D97-AF65-F5344CB8AC3E}">
        <p14:creationId xmlns:p14="http://schemas.microsoft.com/office/powerpoint/2010/main" val="1769172670"/>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Slide A">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8"/>
          </p:nvPr>
        </p:nvSpPr>
        <p:spPr>
          <a:xfrm>
            <a:off x="4572000" y="1844676"/>
            <a:ext cx="4335465" cy="41477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quarter" idx="17"/>
          </p:nvPr>
        </p:nvSpPr>
        <p:spPr>
          <a:xfrm>
            <a:off x="292100" y="1844676"/>
            <a:ext cx="4183856" cy="41477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1" y="1245629"/>
            <a:ext cx="8627651" cy="419659"/>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11" name="Title Placeholder 1"/>
          <p:cNvSpPr>
            <a:spLocks noGrp="1"/>
          </p:cNvSpPr>
          <p:nvPr>
            <p:ph type="title"/>
          </p:nvPr>
        </p:nvSpPr>
        <p:spPr>
          <a:xfrm>
            <a:off x="292100"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7"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6"/>
            <a:ext cx="305754" cy="365125"/>
          </a:xfrm>
          <a:prstGeom prst="rect">
            <a:avLst/>
          </a:prstGeom>
        </p:spPr>
        <p:txBody>
          <a:bodyPr vert="horz" lIns="0" tIns="0" rIns="0" bIns="0" rtlCol="0" anchor="b" anchorCtr="0"/>
          <a:lstStyle>
            <a:lvl1pPr algn="l">
              <a:defRPr sz="800" b="0" i="0">
                <a:solidFill>
                  <a:schemeClr val="tx2"/>
                </a:solidFill>
                <a:latin typeface="+mn-lt"/>
              </a:defRPr>
            </a:lvl1pPr>
          </a:lstStyle>
          <a:p>
            <a:endParaRPr lang="en-US"/>
          </a:p>
        </p:txBody>
      </p:sp>
    </p:spTree>
    <p:extLst>
      <p:ext uri="{BB962C8B-B14F-4D97-AF65-F5344CB8AC3E}">
        <p14:creationId xmlns:p14="http://schemas.microsoft.com/office/powerpoint/2010/main" val="1427972784"/>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example bar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12" name="Chart Placeholder 5" descr="Name of bar chart to be inserted" title="Chart">
            <a:extLst>
              <a:ext uri="{FF2B5EF4-FFF2-40B4-BE49-F238E27FC236}">
                <a16:creationId xmlns:a16="http://schemas.microsoft.com/office/drawing/2014/main" id="{78CDAE48-35F7-4A8F-908A-26AABCF38BAC}"/>
              </a:ext>
            </a:extLst>
          </p:cNvPr>
          <p:cNvGraphicFramePr>
            <a:graphicFrameLocks/>
          </p:cNvGraphicFramePr>
          <p:nvPr userDrawn="1"/>
        </p:nvGraphicFramePr>
        <p:xfrm>
          <a:off x="4062200" y="1844675"/>
          <a:ext cx="5051624" cy="41388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7"/>
          </p:nvPr>
        </p:nvSpPr>
        <p:spPr>
          <a:xfrm>
            <a:off x="292100" y="1844675"/>
            <a:ext cx="3864547" cy="413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1" y="1245629"/>
            <a:ext cx="8627651" cy="430205"/>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18" name="Title Placeholder 1"/>
          <p:cNvSpPr>
            <a:spLocks noGrp="1"/>
          </p:cNvSpPr>
          <p:nvPr>
            <p:ph type="title"/>
          </p:nvPr>
        </p:nvSpPr>
        <p:spPr>
          <a:xfrm>
            <a:off x="292100"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8"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6"/>
            <a:ext cx="305754" cy="365125"/>
          </a:xfrm>
          <a:prstGeom prst="rect">
            <a:avLst/>
          </a:prstGeom>
        </p:spPr>
        <p:txBody>
          <a:bodyPr vert="horz" lIns="0" tIns="0" rIns="0" bIns="0" rtlCol="0" anchor="b" anchorCtr="0"/>
          <a:lstStyle>
            <a:lvl1pPr algn="l">
              <a:defRPr sz="800" b="0" i="0">
                <a:solidFill>
                  <a:schemeClr val="tx2"/>
                </a:solidFill>
                <a:latin typeface="+mn-lt"/>
              </a:defRPr>
            </a:lvl1pPr>
          </a:lstStyle>
          <a:p>
            <a:endParaRPr lang="en-US"/>
          </a:p>
        </p:txBody>
      </p:sp>
    </p:spTree>
    <p:extLst>
      <p:ext uri="{BB962C8B-B14F-4D97-AF65-F5344CB8AC3E}">
        <p14:creationId xmlns:p14="http://schemas.microsoft.com/office/powerpoint/2010/main" val="1834665965"/>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example pie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11" name="Chart Placeholder 6" descr="Name of pie chart to be inserted" title="Chart">
            <a:extLst>
              <a:ext uri="{FF2B5EF4-FFF2-40B4-BE49-F238E27FC236}">
                <a16:creationId xmlns:a16="http://schemas.microsoft.com/office/drawing/2014/main" id="{605EC759-23A5-412D-8489-3CD3D3F4FD71}"/>
              </a:ext>
            </a:extLst>
          </p:cNvPr>
          <p:cNvGraphicFramePr>
            <a:graphicFrameLocks/>
          </p:cNvGraphicFramePr>
          <p:nvPr userDrawn="1"/>
        </p:nvGraphicFramePr>
        <p:xfrm>
          <a:off x="4706522" y="1844676"/>
          <a:ext cx="4177487" cy="409381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7"/>
          </p:nvPr>
        </p:nvSpPr>
        <p:spPr>
          <a:xfrm>
            <a:off x="292100" y="1844675"/>
            <a:ext cx="4177487" cy="40938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20" name="Straight Connector 19">
            <a:extLst>
              <a:ext uri="{FF2B5EF4-FFF2-40B4-BE49-F238E27FC236}">
                <a16:creationId xmlns:a16="http://schemas.microsoft.com/office/drawing/2014/main" id="{DEF174A2-A12A-574C-A29E-3FE1A83AA8A7}"/>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A29AAED-C026-A74D-986A-D99794BFEDDD}"/>
              </a:ext>
            </a:extLst>
          </p:cNvPr>
          <p:cNvSpPr txBox="1"/>
          <p:nvPr userDrawn="1"/>
        </p:nvSpPr>
        <p:spPr>
          <a:xfrm>
            <a:off x="306969" y="365498"/>
            <a:ext cx="1853071" cy="138499"/>
          </a:xfrm>
          <a:prstGeom prst="rect">
            <a:avLst/>
          </a:prstGeom>
          <a:noFill/>
        </p:spPr>
        <p:txBody>
          <a:bodyPr wrap="none" lIns="0" tIns="0" rIns="0" bIns="0" rtlCol="0">
            <a:spAutoFit/>
          </a:bodyPr>
          <a:lstStyle/>
          <a:p>
            <a:r>
              <a:rPr lang="en-AU" sz="900" b="1" i="0">
                <a:solidFill>
                  <a:schemeClr val="tx2"/>
                </a:solidFill>
                <a:latin typeface="Montserrat SemiBold" pitchFamily="2" charset="77"/>
              </a:rPr>
              <a:t>NSW Department of Education</a:t>
            </a:r>
          </a:p>
        </p:txBody>
      </p:sp>
      <p:pic>
        <p:nvPicPr>
          <p:cNvPr id="12" name="Picture 11" descr="NSW Government Logo" title="NSW Government Logo"/>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385743" y="6121867"/>
            <a:ext cx="494457" cy="540000"/>
          </a:xfrm>
          <a:prstGeom prst="rect">
            <a:avLst/>
          </a:prstGeom>
        </p:spPr>
      </p:pic>
      <p:sp>
        <p:nvSpPr>
          <p:cNvPr id="13" name="Text Placeholder 2078">
            <a:extLst>
              <a:ext uri="{FF2B5EF4-FFF2-40B4-BE49-F238E27FC236}">
                <a16:creationId xmlns:a16="http://schemas.microsoft.com/office/drawing/2014/main" id="{DE976D40-EB64-8443-8524-2F97084E2CFB}"/>
              </a:ext>
            </a:extLst>
          </p:cNvPr>
          <p:cNvSpPr>
            <a:spLocks noGrp="1"/>
          </p:cNvSpPr>
          <p:nvPr userDrawn="1">
            <p:ph type="body" sz="quarter" idx="15" hasCustomPrompt="1"/>
          </p:nvPr>
        </p:nvSpPr>
        <p:spPr>
          <a:xfrm>
            <a:off x="294661" y="1245629"/>
            <a:ext cx="8627651" cy="419659"/>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14" name="Title Placeholder 1"/>
          <p:cNvSpPr>
            <a:spLocks noGrp="1"/>
          </p:cNvSpPr>
          <p:nvPr userDrawn="1">
            <p:ph type="title"/>
          </p:nvPr>
        </p:nvSpPr>
        <p:spPr>
          <a:xfrm>
            <a:off x="292100"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15" name="Footer Placeholder 3">
            <a:extLst>
              <a:ext uri="{FF2B5EF4-FFF2-40B4-BE49-F238E27FC236}">
                <a16:creationId xmlns:a16="http://schemas.microsoft.com/office/drawing/2014/main" id="{451CE90D-C2B7-A145-B742-F4069E2952AF}"/>
              </a:ext>
            </a:extLst>
          </p:cNvPr>
          <p:cNvSpPr>
            <a:spLocks noGrp="1"/>
          </p:cNvSpPr>
          <p:nvPr userDrawn="1">
            <p:ph type="ftr" sz="quarter" idx="3"/>
          </p:nvPr>
        </p:nvSpPr>
        <p:spPr>
          <a:xfrm>
            <a:off x="292150" y="6258126"/>
            <a:ext cx="305754" cy="365125"/>
          </a:xfrm>
          <a:prstGeom prst="rect">
            <a:avLst/>
          </a:prstGeom>
        </p:spPr>
        <p:txBody>
          <a:bodyPr vert="horz" lIns="0" tIns="0" rIns="0" bIns="0" rtlCol="0" anchor="b" anchorCtr="0"/>
          <a:lstStyle>
            <a:lvl1pPr algn="l">
              <a:defRPr sz="800" b="0" i="0">
                <a:solidFill>
                  <a:schemeClr val="tx2"/>
                </a:solidFill>
                <a:latin typeface="+mn-lt"/>
              </a:defRPr>
            </a:lvl1pPr>
          </a:lstStyle>
          <a:p>
            <a:endParaRPr lang="en-US"/>
          </a:p>
        </p:txBody>
      </p:sp>
    </p:spTree>
    <p:extLst>
      <p:ext uri="{BB962C8B-B14F-4D97-AF65-F5344CB8AC3E}">
        <p14:creationId xmlns:p14="http://schemas.microsoft.com/office/powerpoint/2010/main" val="3546904706"/>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F0DC3A9-4AE8-4D39-96BD-7D19AA2EEC40}"/>
              </a:ext>
            </a:extLst>
          </p:cNvPr>
          <p:cNvSpPr>
            <a:spLocks noGrp="1"/>
          </p:cNvSpPr>
          <p:nvPr>
            <p:ph type="pic" sz="quarter" idx="17"/>
          </p:nvPr>
        </p:nvSpPr>
        <p:spPr>
          <a:xfrm>
            <a:off x="4572000" y="1844675"/>
            <a:ext cx="4354316" cy="4067175"/>
          </a:xfrm>
        </p:spPr>
        <p:txBody>
          <a:bodyPr>
            <a:normAutofit/>
          </a:bodyPr>
          <a:lstStyle>
            <a:lvl1pPr marL="0" indent="0">
              <a:buNone/>
              <a:defRPr sz="1350"/>
            </a:lvl1pPr>
          </a:lstStyle>
          <a:p>
            <a:r>
              <a:rPr lang="en-US"/>
              <a:t>Click icon to add picture</a:t>
            </a:r>
            <a:endParaRPr lang="en-AU"/>
          </a:p>
        </p:txBody>
      </p:sp>
      <p:sp>
        <p:nvSpPr>
          <p:cNvPr id="3" name="Text Placeholder 2"/>
          <p:cNvSpPr>
            <a:spLocks noGrp="1"/>
          </p:cNvSpPr>
          <p:nvPr>
            <p:ph type="body" sz="quarter" idx="16"/>
          </p:nvPr>
        </p:nvSpPr>
        <p:spPr>
          <a:xfrm>
            <a:off x="298091" y="1844675"/>
            <a:ext cx="4140744" cy="4067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1" y="1245629"/>
            <a:ext cx="8627651" cy="419659"/>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12" name="Title Placeholder 1"/>
          <p:cNvSpPr>
            <a:spLocks noGrp="1"/>
          </p:cNvSpPr>
          <p:nvPr>
            <p:ph type="title"/>
          </p:nvPr>
        </p:nvSpPr>
        <p:spPr>
          <a:xfrm>
            <a:off x="292100"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7"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6"/>
            <a:ext cx="305754" cy="365125"/>
          </a:xfrm>
          <a:prstGeom prst="rect">
            <a:avLst/>
          </a:prstGeom>
        </p:spPr>
        <p:txBody>
          <a:bodyPr vert="horz" lIns="0" tIns="0" rIns="0" bIns="0" rtlCol="0" anchor="b" anchorCtr="0"/>
          <a:lstStyle>
            <a:lvl1pPr algn="l">
              <a:defRPr sz="800" b="0" i="0">
                <a:solidFill>
                  <a:schemeClr val="tx2"/>
                </a:solidFill>
                <a:latin typeface="+mn-lt"/>
              </a:defRPr>
            </a:lvl1pPr>
          </a:lstStyle>
          <a:p>
            <a:endParaRPr lang="en-US"/>
          </a:p>
        </p:txBody>
      </p:sp>
    </p:spTree>
    <p:extLst>
      <p:ext uri="{BB962C8B-B14F-4D97-AF65-F5344CB8AC3E}">
        <p14:creationId xmlns:p14="http://schemas.microsoft.com/office/powerpoint/2010/main" val="1077945825"/>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ab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ED2C0BA2-4F2F-4DB2-B9B9-254956473F7A}"/>
              </a:ext>
            </a:extLst>
          </p:cNvPr>
          <p:cNvSpPr>
            <a:spLocks noGrp="1"/>
          </p:cNvSpPr>
          <p:nvPr>
            <p:ph type="tbl" sz="quarter" idx="18"/>
          </p:nvPr>
        </p:nvSpPr>
        <p:spPr>
          <a:xfrm>
            <a:off x="4572000" y="1844675"/>
            <a:ext cx="4289512" cy="4067176"/>
          </a:xfrm>
        </p:spPr>
        <p:txBody>
          <a:bodyPr>
            <a:normAutofit/>
          </a:bodyPr>
          <a:lstStyle>
            <a:lvl1pPr marL="0" indent="0">
              <a:buNone/>
              <a:defRPr sz="1350"/>
            </a:lvl1pPr>
          </a:lstStyle>
          <a:p>
            <a:r>
              <a:rPr lang="en-US"/>
              <a:t>Click icon to add table</a:t>
            </a:r>
            <a:endParaRPr lang="en-AU"/>
          </a:p>
        </p:txBody>
      </p:sp>
      <p:sp>
        <p:nvSpPr>
          <p:cNvPr id="4" name="Text Placeholder 3"/>
          <p:cNvSpPr>
            <a:spLocks noGrp="1"/>
          </p:cNvSpPr>
          <p:nvPr>
            <p:ph type="body" sz="quarter" idx="17"/>
          </p:nvPr>
        </p:nvSpPr>
        <p:spPr>
          <a:xfrm>
            <a:off x="292100" y="1844675"/>
            <a:ext cx="4120102" cy="4067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1" y="1245629"/>
            <a:ext cx="8627651" cy="419659"/>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14" name="Title Placeholder 1"/>
          <p:cNvSpPr>
            <a:spLocks noGrp="1"/>
          </p:cNvSpPr>
          <p:nvPr>
            <p:ph type="title"/>
          </p:nvPr>
        </p:nvSpPr>
        <p:spPr>
          <a:xfrm>
            <a:off x="292100"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8"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6"/>
            <a:ext cx="305754" cy="365125"/>
          </a:xfrm>
          <a:prstGeom prst="rect">
            <a:avLst/>
          </a:prstGeom>
        </p:spPr>
        <p:txBody>
          <a:bodyPr vert="horz" lIns="0" tIns="0" rIns="0" bIns="0" rtlCol="0" anchor="b" anchorCtr="0"/>
          <a:lstStyle>
            <a:lvl1pPr algn="l">
              <a:defRPr sz="800" b="0" i="0">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B1B7782E-9F13-7747-9D25-96B05BFAA5DD}"/>
              </a:ext>
            </a:extLst>
          </p:cNvPr>
          <p:cNvSpPr txBox="1"/>
          <p:nvPr userDrawn="1"/>
        </p:nvSpPr>
        <p:spPr>
          <a:xfrm>
            <a:off x="249382" y="415636"/>
            <a:ext cx="0" cy="0"/>
          </a:xfrm>
          <a:prstGeom prst="rect">
            <a:avLst/>
          </a:prstGeom>
          <a:noFill/>
        </p:spPr>
        <p:txBody>
          <a:bodyPr wrap="none" lIns="0" tIns="0" rIns="0" bIns="0" rtlCol="0">
            <a:noAutofit/>
          </a:bodyPr>
          <a:lstStyle/>
          <a:p>
            <a:pPr algn="l"/>
            <a:endParaRPr lang="en-US" sz="1400"/>
          </a:p>
        </p:txBody>
      </p:sp>
    </p:spTree>
    <p:extLst>
      <p:ext uri="{BB962C8B-B14F-4D97-AF65-F5344CB8AC3E}">
        <p14:creationId xmlns:p14="http://schemas.microsoft.com/office/powerpoint/2010/main" val="4122755156"/>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62F238E7-DF0B-440A-80CD-92A5852D35B8}"/>
              </a:ext>
            </a:extLst>
          </p:cNvPr>
          <p:cNvSpPr>
            <a:spLocks noGrp="1"/>
          </p:cNvSpPr>
          <p:nvPr>
            <p:ph type="chart" sz="quarter" idx="18"/>
          </p:nvPr>
        </p:nvSpPr>
        <p:spPr>
          <a:xfrm>
            <a:off x="4572000" y="1844675"/>
            <a:ext cx="4279900" cy="4129998"/>
          </a:xfrm>
        </p:spPr>
        <p:txBody>
          <a:bodyPr>
            <a:normAutofit/>
          </a:bodyPr>
          <a:lstStyle>
            <a:lvl1pPr marL="0" indent="0">
              <a:buNone/>
              <a:defRPr sz="1350">
                <a:solidFill>
                  <a:schemeClr val="tx2"/>
                </a:solidFill>
              </a:defRPr>
            </a:lvl1pPr>
          </a:lstStyle>
          <a:p>
            <a:r>
              <a:rPr lang="en-US"/>
              <a:t>Click icon to add chart</a:t>
            </a:r>
            <a:endParaRPr lang="en-AU"/>
          </a:p>
        </p:txBody>
      </p:sp>
      <p:sp>
        <p:nvSpPr>
          <p:cNvPr id="4" name="Text Placeholder 3"/>
          <p:cNvSpPr>
            <a:spLocks noGrp="1"/>
          </p:cNvSpPr>
          <p:nvPr>
            <p:ph type="body" sz="quarter" idx="17"/>
          </p:nvPr>
        </p:nvSpPr>
        <p:spPr>
          <a:xfrm>
            <a:off x="292101" y="1844675"/>
            <a:ext cx="4111224" cy="412999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1" y="1245629"/>
            <a:ext cx="8627651" cy="419659"/>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13" name="Title Placeholder 1"/>
          <p:cNvSpPr>
            <a:spLocks noGrp="1"/>
          </p:cNvSpPr>
          <p:nvPr>
            <p:ph type="title"/>
          </p:nvPr>
        </p:nvSpPr>
        <p:spPr>
          <a:xfrm>
            <a:off x="292100"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8"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6"/>
            <a:ext cx="305754" cy="365125"/>
          </a:xfrm>
          <a:prstGeom prst="rect">
            <a:avLst/>
          </a:prstGeom>
        </p:spPr>
        <p:txBody>
          <a:bodyPr vert="horz" lIns="0" tIns="0" rIns="0" bIns="0" rtlCol="0" anchor="b" anchorCtr="0"/>
          <a:lstStyle>
            <a:lvl1pPr algn="l">
              <a:defRPr sz="800" b="0" i="0">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7197EDAD-CF55-D841-9671-910D0B8F9569}"/>
              </a:ext>
            </a:extLst>
          </p:cNvPr>
          <p:cNvSpPr txBox="1"/>
          <p:nvPr userDrawn="1"/>
        </p:nvSpPr>
        <p:spPr>
          <a:xfrm>
            <a:off x="654627" y="374073"/>
            <a:ext cx="0" cy="0"/>
          </a:xfrm>
          <a:prstGeom prst="rect">
            <a:avLst/>
          </a:prstGeom>
          <a:noFill/>
        </p:spPr>
        <p:txBody>
          <a:bodyPr wrap="none" lIns="0" tIns="0" rIns="0" bIns="0" rtlCol="0">
            <a:noAutofit/>
          </a:bodyPr>
          <a:lstStyle/>
          <a:p>
            <a:pPr algn="l"/>
            <a:endParaRPr lang="en-US" sz="1400"/>
          </a:p>
        </p:txBody>
      </p:sp>
    </p:spTree>
    <p:extLst>
      <p:ext uri="{BB962C8B-B14F-4D97-AF65-F5344CB8AC3E}">
        <p14:creationId xmlns:p14="http://schemas.microsoft.com/office/powerpoint/2010/main" val="3054855199"/>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ulti image and text">
    <p:spTree>
      <p:nvGrpSpPr>
        <p:cNvPr id="1" name=""/>
        <p:cNvGrpSpPr/>
        <p:nvPr/>
      </p:nvGrpSpPr>
      <p:grpSpPr>
        <a:xfrm>
          <a:off x="0" y="0"/>
          <a:ext cx="0" cy="0"/>
          <a:chOff x="0" y="0"/>
          <a:chExt cx="0" cy="0"/>
        </a:xfrm>
      </p:grpSpPr>
      <p:sp>
        <p:nvSpPr>
          <p:cNvPr id="21" name="Picture Placeholder 20"/>
          <p:cNvSpPr>
            <a:spLocks noGrp="1"/>
          </p:cNvSpPr>
          <p:nvPr>
            <p:ph type="pic" sz="quarter" idx="17"/>
          </p:nvPr>
        </p:nvSpPr>
        <p:spPr>
          <a:xfrm>
            <a:off x="307975" y="1881188"/>
            <a:ext cx="1980000" cy="1704975"/>
          </a:xfrm>
        </p:spPr>
        <p:txBody>
          <a:bodyPr/>
          <a:lstStyle/>
          <a:p>
            <a:r>
              <a:rPr lang="en-US"/>
              <a:t>Click icon to add picture</a:t>
            </a:r>
            <a:endParaRPr lang="en-AU"/>
          </a:p>
        </p:txBody>
      </p:sp>
      <p:sp>
        <p:nvSpPr>
          <p:cNvPr id="22" name="Picture Placeholder 20"/>
          <p:cNvSpPr>
            <a:spLocks noGrp="1"/>
          </p:cNvSpPr>
          <p:nvPr>
            <p:ph type="pic" sz="quarter" idx="18"/>
          </p:nvPr>
        </p:nvSpPr>
        <p:spPr>
          <a:xfrm>
            <a:off x="2517034" y="1881188"/>
            <a:ext cx="1980000" cy="1704975"/>
          </a:xfrm>
        </p:spPr>
        <p:txBody>
          <a:bodyPr/>
          <a:lstStyle/>
          <a:p>
            <a:r>
              <a:rPr lang="en-US"/>
              <a:t>Click icon to add picture</a:t>
            </a:r>
            <a:endParaRPr lang="en-AU"/>
          </a:p>
        </p:txBody>
      </p:sp>
      <p:sp>
        <p:nvSpPr>
          <p:cNvPr id="23" name="Picture Placeholder 20"/>
          <p:cNvSpPr>
            <a:spLocks noGrp="1"/>
          </p:cNvSpPr>
          <p:nvPr>
            <p:ph type="pic" sz="quarter" idx="19"/>
          </p:nvPr>
        </p:nvSpPr>
        <p:spPr>
          <a:xfrm>
            <a:off x="4726093" y="1881188"/>
            <a:ext cx="1980000" cy="1704975"/>
          </a:xfrm>
        </p:spPr>
        <p:txBody>
          <a:bodyPr/>
          <a:lstStyle/>
          <a:p>
            <a:r>
              <a:rPr lang="en-US"/>
              <a:t>Click icon to add picture</a:t>
            </a:r>
            <a:endParaRPr lang="en-AU"/>
          </a:p>
        </p:txBody>
      </p:sp>
      <p:sp>
        <p:nvSpPr>
          <p:cNvPr id="24" name="Picture Placeholder 20"/>
          <p:cNvSpPr>
            <a:spLocks noGrp="1"/>
          </p:cNvSpPr>
          <p:nvPr>
            <p:ph type="pic" sz="quarter" idx="20"/>
          </p:nvPr>
        </p:nvSpPr>
        <p:spPr>
          <a:xfrm>
            <a:off x="6935151" y="1881188"/>
            <a:ext cx="1980000" cy="1704975"/>
          </a:xfrm>
        </p:spPr>
        <p:txBody>
          <a:bodyPr/>
          <a:lstStyle/>
          <a:p>
            <a:r>
              <a:rPr lang="en-US"/>
              <a:t>Click icon to add picture</a:t>
            </a:r>
            <a:endParaRPr lang="en-AU"/>
          </a:p>
        </p:txBody>
      </p:sp>
      <p:sp>
        <p:nvSpPr>
          <p:cNvPr id="26" name="Text Placeholder 25"/>
          <p:cNvSpPr>
            <a:spLocks noGrp="1"/>
          </p:cNvSpPr>
          <p:nvPr>
            <p:ph type="body" sz="quarter" idx="21"/>
          </p:nvPr>
        </p:nvSpPr>
        <p:spPr>
          <a:xfrm>
            <a:off x="307975" y="3729038"/>
            <a:ext cx="1979613" cy="2201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7" name="Text Placeholder 25"/>
          <p:cNvSpPr>
            <a:spLocks noGrp="1"/>
          </p:cNvSpPr>
          <p:nvPr>
            <p:ph type="body" sz="quarter" idx="22"/>
          </p:nvPr>
        </p:nvSpPr>
        <p:spPr>
          <a:xfrm>
            <a:off x="2517421" y="3778093"/>
            <a:ext cx="1979613" cy="2201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Text Placeholder 25"/>
          <p:cNvSpPr>
            <a:spLocks noGrp="1"/>
          </p:cNvSpPr>
          <p:nvPr>
            <p:ph type="body" sz="quarter" idx="23"/>
          </p:nvPr>
        </p:nvSpPr>
        <p:spPr>
          <a:xfrm>
            <a:off x="4732337" y="3778093"/>
            <a:ext cx="1979613" cy="2201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p:cNvSpPr>
            <a:spLocks noGrp="1"/>
          </p:cNvSpPr>
          <p:nvPr>
            <p:ph type="body" sz="quarter" idx="24"/>
          </p:nvPr>
        </p:nvSpPr>
        <p:spPr>
          <a:xfrm>
            <a:off x="6947253" y="3778093"/>
            <a:ext cx="1979613" cy="2201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1" y="1245629"/>
            <a:ext cx="8627651" cy="443629"/>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31" name="Title Placeholder 1"/>
          <p:cNvSpPr>
            <a:spLocks noGrp="1"/>
          </p:cNvSpPr>
          <p:nvPr>
            <p:ph type="title"/>
          </p:nvPr>
        </p:nvSpPr>
        <p:spPr>
          <a:xfrm>
            <a:off x="292100"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14"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6"/>
            <a:ext cx="305754" cy="365125"/>
          </a:xfrm>
          <a:prstGeom prst="rect">
            <a:avLst/>
          </a:prstGeom>
        </p:spPr>
        <p:txBody>
          <a:bodyPr vert="horz" lIns="0" tIns="0" rIns="0" bIns="0" rtlCol="0" anchor="b" anchorCtr="0"/>
          <a:lstStyle>
            <a:lvl1pPr algn="l">
              <a:defRPr sz="800" b="0" i="0">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5C77D89F-AD80-E940-A173-D053B3E2C118}"/>
              </a:ext>
            </a:extLst>
          </p:cNvPr>
          <p:cNvSpPr txBox="1"/>
          <p:nvPr userDrawn="1"/>
        </p:nvSpPr>
        <p:spPr>
          <a:xfrm>
            <a:off x="810491" y="363682"/>
            <a:ext cx="0" cy="0"/>
          </a:xfrm>
          <a:prstGeom prst="rect">
            <a:avLst/>
          </a:prstGeom>
          <a:noFill/>
        </p:spPr>
        <p:txBody>
          <a:bodyPr wrap="none" lIns="0" tIns="0" rIns="0" bIns="0" rtlCol="0">
            <a:noAutofit/>
          </a:bodyPr>
          <a:lstStyle/>
          <a:p>
            <a:pPr algn="l"/>
            <a:endParaRPr lang="en-US" sz="1400"/>
          </a:p>
        </p:txBody>
      </p:sp>
    </p:spTree>
    <p:extLst>
      <p:ext uri="{BB962C8B-B14F-4D97-AF65-F5344CB8AC3E}">
        <p14:creationId xmlns:p14="http://schemas.microsoft.com/office/powerpoint/2010/main" val="11085774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2062" name="Title 2061"/>
          <p:cNvSpPr>
            <a:spLocks noGrp="1"/>
          </p:cNvSpPr>
          <p:nvPr>
            <p:ph type="title"/>
          </p:nvPr>
        </p:nvSpPr>
        <p:spPr/>
        <p:txBody>
          <a:bodyPr/>
          <a:lstStyle/>
          <a:p>
            <a:r>
              <a:rPr lang="en-US"/>
              <a:t>Click to edit Master title style</a:t>
            </a:r>
            <a:endParaRPr lang="en-AU"/>
          </a:p>
        </p:txBody>
      </p:sp>
      <p:cxnSp>
        <p:nvCxnSpPr>
          <p:cNvPr id="50" name="Straight Connector 49"/>
          <p:cNvCxnSpPr/>
          <p:nvPr userDrawn="1"/>
        </p:nvCxnSpPr>
        <p:spPr>
          <a:xfrm>
            <a:off x="395537" y="1316765"/>
            <a:ext cx="828092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66" name="Date Placeholder 2065"/>
          <p:cNvSpPr>
            <a:spLocks noGrp="1"/>
          </p:cNvSpPr>
          <p:nvPr>
            <p:ph type="dt" sz="half" idx="10"/>
          </p:nvPr>
        </p:nvSpPr>
        <p:spPr/>
        <p:txBody>
          <a:bodyPr/>
          <a:lstStyle/>
          <a:p>
            <a:r>
              <a:rPr lang="en-US"/>
              <a:t>3 October 2017</a:t>
            </a:r>
            <a:endParaRPr lang="en-AU" dirty="0"/>
          </a:p>
        </p:txBody>
      </p:sp>
      <p:sp>
        <p:nvSpPr>
          <p:cNvPr id="2067" name="Footer Placeholder 2066"/>
          <p:cNvSpPr>
            <a:spLocks noGrp="1"/>
          </p:cNvSpPr>
          <p:nvPr>
            <p:ph type="ftr" sz="quarter" idx="11"/>
          </p:nvPr>
        </p:nvSpPr>
        <p:spPr/>
        <p:txBody>
          <a:bodyPr/>
          <a:lstStyle/>
          <a:p>
            <a:r>
              <a:rPr lang="en-AU"/>
              <a:t>© NSW Department of Education | Students with Disability – Executive Paper </a:t>
            </a:r>
            <a:endParaRPr lang="en-AU" dirty="0"/>
          </a:p>
        </p:txBody>
      </p:sp>
      <p:sp>
        <p:nvSpPr>
          <p:cNvPr id="2068" name="Slide Number Placeholder 2067"/>
          <p:cNvSpPr>
            <a:spLocks noGrp="1"/>
          </p:cNvSpPr>
          <p:nvPr>
            <p:ph type="sldNum" sz="quarter" idx="12"/>
          </p:nvPr>
        </p:nvSpPr>
        <p:spPr/>
        <p:txBody>
          <a:bodyPr/>
          <a:lstStyle/>
          <a:p>
            <a:r>
              <a:rPr lang="en-AU"/>
              <a:t>Page </a:t>
            </a:r>
            <a:fld id="{4A2A1DA9-8CAF-4BCA-B496-545B076AED2D}" type="slidenum">
              <a:rPr lang="en-AU" smtClean="0"/>
              <a:pPr/>
              <a:t>‹#›</a:t>
            </a:fld>
            <a:endParaRPr lang="en-AU" dirty="0"/>
          </a:p>
        </p:txBody>
      </p:sp>
    </p:spTree>
    <p:extLst>
      <p:ext uri="{BB962C8B-B14F-4D97-AF65-F5344CB8AC3E}">
        <p14:creationId xmlns:p14="http://schemas.microsoft.com/office/powerpoint/2010/main" val="12481664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255460" y="4048755"/>
            <a:ext cx="3477026" cy="931618"/>
          </a:xfrm>
          <a:prstGeom prst="rect">
            <a:avLst/>
          </a:prstGeom>
        </p:spPr>
        <p:txBody>
          <a:bodyPr wrap="square" lIns="0">
            <a:noAutofit/>
          </a:bodyPr>
          <a:lstStyle>
            <a:lvl1pPr marL="0" indent="0">
              <a:buNone/>
              <a:defRPr sz="1125"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255463" y="2823581"/>
            <a:ext cx="3477025" cy="1107996"/>
          </a:xfrm>
        </p:spPr>
        <p:txBody>
          <a:bodyPr anchor="b">
            <a:noAutofit/>
          </a:bodyPr>
          <a:lstStyle>
            <a:lvl1pPr>
              <a:lnSpc>
                <a:spcPct val="90000"/>
              </a:lnSpc>
              <a:defRPr sz="225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70" y="365499"/>
            <a:ext cx="1396216" cy="103875"/>
          </a:xfrm>
          <a:prstGeom prst="rect">
            <a:avLst/>
          </a:prstGeom>
          <a:noFill/>
        </p:spPr>
        <p:txBody>
          <a:bodyPr wrap="none" lIns="0" tIns="0" rIns="0" bIns="0" rtlCol="0">
            <a:spAutoFit/>
          </a:bodyPr>
          <a:lstStyle/>
          <a:p>
            <a:r>
              <a:rPr lang="en-AU" sz="675" b="1" i="0">
                <a:solidFill>
                  <a:schemeClr val="bg1"/>
                </a:solidFill>
                <a:latin typeface="Montserrat SemiBold" pitchFamily="2" charset="77"/>
              </a:rPr>
              <a:t>NSW Department of Education</a:t>
            </a:r>
          </a:p>
        </p:txBody>
      </p:sp>
      <p:pic>
        <p:nvPicPr>
          <p:cNvPr id="10" name="Picture 9" descr="NSW Government Logo&#10;&#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3749" y="5912575"/>
            <a:ext cx="665883" cy="720000"/>
          </a:xfrm>
          <a:prstGeom prst="rect">
            <a:avLst/>
          </a:prstGeom>
        </p:spPr>
      </p:pic>
    </p:spTree>
    <p:extLst>
      <p:ext uri="{BB962C8B-B14F-4D97-AF65-F5344CB8AC3E}">
        <p14:creationId xmlns:p14="http://schemas.microsoft.com/office/powerpoint/2010/main" val="4123113459"/>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Young student using an interactive device at her desk.&#10;">
            <a:extLst>
              <a:ext uri="{FF2B5EF4-FFF2-40B4-BE49-F238E27FC236}">
                <a16:creationId xmlns:a16="http://schemas.microsoft.com/office/drawing/2014/main" id="{803D38EF-B025-1D4B-89FA-98E21AEAAA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033881"/>
            <a:ext cx="5053098" cy="4982138"/>
          </a:xfrm>
          <a:prstGeom prst="rect">
            <a:avLst/>
          </a:prstGeom>
        </p:spPr>
      </p:pic>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5096828" y="3059141"/>
            <a:ext cx="3664986" cy="931618"/>
          </a:xfrm>
          <a:prstGeom prst="rect">
            <a:avLst/>
          </a:prstGeom>
        </p:spPr>
        <p:txBody>
          <a:bodyPr wrap="square" lIns="0">
            <a:noAutofit/>
          </a:bodyPr>
          <a:lstStyle>
            <a:lvl1pPr marL="0" indent="0">
              <a:buNone/>
              <a:defRPr sz="135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5096833" y="1833967"/>
            <a:ext cx="3664985" cy="1107996"/>
          </a:xfrm>
        </p:spPr>
        <p:txBody>
          <a:bodyPr anchor="b">
            <a:noAutofit/>
          </a:bodyPr>
          <a:lstStyle>
            <a:lvl1pPr>
              <a:lnSpc>
                <a:spcPct val="90000"/>
              </a:lnSpc>
              <a:defRPr sz="225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70" y="365499"/>
            <a:ext cx="1396216" cy="103875"/>
          </a:xfrm>
          <a:prstGeom prst="rect">
            <a:avLst/>
          </a:prstGeom>
          <a:noFill/>
        </p:spPr>
        <p:txBody>
          <a:bodyPr wrap="none" lIns="0" tIns="0" rIns="0" bIns="0" rtlCol="0">
            <a:spAutoFit/>
          </a:bodyPr>
          <a:lstStyle/>
          <a:p>
            <a:r>
              <a:rPr lang="en-AU" sz="675" b="1" i="0">
                <a:solidFill>
                  <a:schemeClr val="bg1"/>
                </a:solidFill>
                <a:latin typeface="Montserrat SemiBold" pitchFamily="2" charset="77"/>
              </a:rPr>
              <a:t>NSW Department of Education</a:t>
            </a:r>
          </a:p>
        </p:txBody>
      </p:sp>
      <p:pic>
        <p:nvPicPr>
          <p:cNvPr id="10" name="Picture 9" descr="NSW Government Logo" title="NSW Government Logo"/>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86018" y="5912575"/>
            <a:ext cx="665883" cy="720000"/>
          </a:xfrm>
          <a:prstGeom prst="rect">
            <a:avLst/>
          </a:prstGeom>
        </p:spPr>
      </p:pic>
    </p:spTree>
    <p:extLst>
      <p:ext uri="{BB962C8B-B14F-4D97-AF65-F5344CB8AC3E}">
        <p14:creationId xmlns:p14="http://schemas.microsoft.com/office/powerpoint/2010/main" val="424197238"/>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Young student using an interactive device at her desk.&#10;">
            <a:extLst>
              <a:ext uri="{FF2B5EF4-FFF2-40B4-BE49-F238E27FC236}">
                <a16:creationId xmlns:a16="http://schemas.microsoft.com/office/drawing/2014/main" id="{803D38EF-B025-1D4B-89FA-98E21AEAAA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033881"/>
            <a:ext cx="5053098" cy="4982138"/>
          </a:xfrm>
          <a:prstGeom prst="rect">
            <a:avLst/>
          </a:prstGeom>
        </p:spPr>
      </p:pic>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5096828" y="3059141"/>
            <a:ext cx="3664986" cy="931618"/>
          </a:xfrm>
          <a:prstGeom prst="rect">
            <a:avLst/>
          </a:prstGeom>
        </p:spPr>
        <p:txBody>
          <a:bodyPr wrap="square" lIns="0">
            <a:noAutofit/>
          </a:bodyPr>
          <a:lstStyle>
            <a:lvl1pPr marL="0" indent="0">
              <a:buNone/>
              <a:defRPr sz="180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5096832" y="1833967"/>
            <a:ext cx="3664985" cy="1107996"/>
          </a:xfrm>
        </p:spPr>
        <p:txBody>
          <a:bodyPr anchor="b">
            <a:noAutofit/>
          </a:bodyPr>
          <a:lstStyle>
            <a:lvl1pPr>
              <a:lnSpc>
                <a:spcPct val="90000"/>
              </a:lnSpc>
              <a:defRPr sz="300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69" y="365498"/>
            <a:ext cx="1853071" cy="138499"/>
          </a:xfrm>
          <a:prstGeom prst="rect">
            <a:avLst/>
          </a:prstGeom>
          <a:noFill/>
        </p:spPr>
        <p:txBody>
          <a:bodyPr wrap="none" lIns="0" tIns="0" rIns="0" bIns="0" rtlCol="0">
            <a:spAutoFit/>
          </a:bodyPr>
          <a:lstStyle/>
          <a:p>
            <a:r>
              <a:rPr lang="en-AU" sz="900" b="1" i="0">
                <a:solidFill>
                  <a:schemeClr val="bg1"/>
                </a:solidFill>
                <a:latin typeface="Montserrat SemiBold" pitchFamily="2" charset="77"/>
              </a:rPr>
              <a:t>NSW Department of Education</a:t>
            </a:r>
          </a:p>
        </p:txBody>
      </p:sp>
      <p:pic>
        <p:nvPicPr>
          <p:cNvPr id="10" name="Picture 9" descr="NSW Government Logo" title="NSW Government Logo"/>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86017" y="5912575"/>
            <a:ext cx="665883" cy="720000"/>
          </a:xfrm>
          <a:prstGeom prst="rect">
            <a:avLst/>
          </a:prstGeom>
        </p:spPr>
      </p:pic>
    </p:spTree>
    <p:extLst>
      <p:ext uri="{BB962C8B-B14F-4D97-AF65-F5344CB8AC3E}">
        <p14:creationId xmlns:p14="http://schemas.microsoft.com/office/powerpoint/2010/main" val="3835305219"/>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263806" y="4048762"/>
            <a:ext cx="3477026" cy="904985"/>
          </a:xfrm>
          <a:prstGeom prst="rect">
            <a:avLst/>
          </a:prstGeom>
        </p:spPr>
        <p:txBody>
          <a:bodyPr wrap="square" lIns="0">
            <a:noAutofit/>
          </a:bodyPr>
          <a:lstStyle>
            <a:lvl1pPr marL="0" indent="0">
              <a:buNone/>
              <a:defRPr sz="135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263809" y="2823581"/>
            <a:ext cx="3477025" cy="1107996"/>
          </a:xfrm>
        </p:spPr>
        <p:txBody>
          <a:bodyPr anchor="b">
            <a:noAutofit/>
          </a:bodyPr>
          <a:lstStyle>
            <a:lvl1pPr>
              <a:lnSpc>
                <a:spcPct val="90000"/>
              </a:lnSpc>
              <a:defRPr sz="225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70" y="365499"/>
            <a:ext cx="1396216" cy="103875"/>
          </a:xfrm>
          <a:prstGeom prst="rect">
            <a:avLst/>
          </a:prstGeom>
          <a:noFill/>
        </p:spPr>
        <p:txBody>
          <a:bodyPr wrap="none" lIns="0" tIns="0" rIns="0" bIns="0" rtlCol="0">
            <a:spAutoFit/>
          </a:bodyPr>
          <a:lstStyle/>
          <a:p>
            <a:r>
              <a:rPr lang="en-AU" sz="675" b="1" i="0">
                <a:solidFill>
                  <a:schemeClr val="bg1"/>
                </a:solidFill>
                <a:latin typeface="Montserrat SemiBold" pitchFamily="2" charset="77"/>
              </a:rPr>
              <a:t>NSW Department of Education</a:t>
            </a:r>
          </a:p>
        </p:txBody>
      </p:sp>
      <p:pic>
        <p:nvPicPr>
          <p:cNvPr id="10" name="Picture 9" descr="NSW Government Logo" title="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3749" y="5912575"/>
            <a:ext cx="665883" cy="720000"/>
          </a:xfrm>
          <a:prstGeom prst="rect">
            <a:avLst/>
          </a:prstGeom>
        </p:spPr>
      </p:pic>
    </p:spTree>
    <p:extLst>
      <p:ext uri="{BB962C8B-B14F-4D97-AF65-F5344CB8AC3E}">
        <p14:creationId xmlns:p14="http://schemas.microsoft.com/office/powerpoint/2010/main" val="2486409332"/>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Students laughing together&#10;">
            <a:extLst>
              <a:ext uri="{FF2B5EF4-FFF2-40B4-BE49-F238E27FC236}">
                <a16:creationId xmlns:a16="http://schemas.microsoft.com/office/drawing/2014/main" id="{003C764F-E1E8-4742-B073-1F328976771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081424" y="1019624"/>
            <a:ext cx="5062575" cy="4991482"/>
          </a:xfrm>
          <a:prstGeom prst="rect">
            <a:avLst/>
          </a:prstGeom>
        </p:spPr>
      </p:pic>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273748" y="4048755"/>
            <a:ext cx="3477026" cy="1242336"/>
          </a:xfrm>
          <a:prstGeom prst="rect">
            <a:avLst/>
          </a:prstGeom>
        </p:spPr>
        <p:txBody>
          <a:bodyPr wrap="square" lIns="0">
            <a:noAutofit/>
          </a:bodyPr>
          <a:lstStyle>
            <a:lvl1pPr marL="0" indent="0">
              <a:buNone/>
              <a:defRPr sz="135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273751" y="2823581"/>
            <a:ext cx="3477025" cy="1107996"/>
          </a:xfrm>
        </p:spPr>
        <p:txBody>
          <a:bodyPr anchor="b">
            <a:noAutofit/>
          </a:bodyPr>
          <a:lstStyle>
            <a:lvl1pPr>
              <a:lnSpc>
                <a:spcPct val="90000"/>
              </a:lnSpc>
              <a:defRPr sz="225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70" y="365499"/>
            <a:ext cx="1396216" cy="103875"/>
          </a:xfrm>
          <a:prstGeom prst="rect">
            <a:avLst/>
          </a:prstGeom>
          <a:noFill/>
        </p:spPr>
        <p:txBody>
          <a:bodyPr wrap="none" lIns="0" tIns="0" rIns="0" bIns="0" rtlCol="0">
            <a:spAutoFit/>
          </a:bodyPr>
          <a:lstStyle/>
          <a:p>
            <a:r>
              <a:rPr lang="en-AU" sz="675" b="1" i="0">
                <a:solidFill>
                  <a:schemeClr val="bg1"/>
                </a:solidFill>
                <a:latin typeface="Montserrat SemiBold" pitchFamily="2" charset="77"/>
              </a:rPr>
              <a:t>NSW Department of Education</a:t>
            </a:r>
          </a:p>
        </p:txBody>
      </p:sp>
      <p:pic>
        <p:nvPicPr>
          <p:cNvPr id="10" name="Picture 9" descr="NSW Government Logo" title="NSW Government Logo"/>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3749" y="5912575"/>
            <a:ext cx="665883" cy="720000"/>
          </a:xfrm>
          <a:prstGeom prst="rect">
            <a:avLst/>
          </a:prstGeom>
        </p:spPr>
      </p:pic>
      <p:sp>
        <p:nvSpPr>
          <p:cNvPr id="4" name="TextBox 3">
            <a:extLst>
              <a:ext uri="{FF2B5EF4-FFF2-40B4-BE49-F238E27FC236}">
                <a16:creationId xmlns:a16="http://schemas.microsoft.com/office/drawing/2014/main" id="{59B9EF07-244D-5B40-AF47-F375070E50B3}"/>
              </a:ext>
            </a:extLst>
          </p:cNvPr>
          <p:cNvSpPr txBox="1"/>
          <p:nvPr userDrawn="1"/>
        </p:nvSpPr>
        <p:spPr>
          <a:xfrm>
            <a:off x="2899719" y="897924"/>
            <a:ext cx="0" cy="0"/>
          </a:xfrm>
          <a:prstGeom prst="rect">
            <a:avLst/>
          </a:prstGeom>
          <a:noFill/>
        </p:spPr>
        <p:txBody>
          <a:bodyPr wrap="none" lIns="0" tIns="0" rIns="0" bIns="0" rtlCol="0">
            <a:noAutofit/>
          </a:bodyPr>
          <a:lstStyle/>
          <a:p>
            <a:pPr algn="l"/>
            <a:endParaRPr lang="en-US" sz="1050"/>
          </a:p>
        </p:txBody>
      </p:sp>
    </p:spTree>
    <p:extLst>
      <p:ext uri="{BB962C8B-B14F-4D97-AF65-F5344CB8AC3E}">
        <p14:creationId xmlns:p14="http://schemas.microsoft.com/office/powerpoint/2010/main" val="453433371"/>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 person looking towards the camera&#10;&#10;Description automatically generated">
            <a:extLst>
              <a:ext uri="{FF2B5EF4-FFF2-40B4-BE49-F238E27FC236}">
                <a16:creationId xmlns:a16="http://schemas.microsoft.com/office/drawing/2014/main" id="{D4008A49-619C-5548-84EE-F00AC7D6ECB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79064" y="1135738"/>
            <a:ext cx="5159316" cy="5086864"/>
          </a:xfrm>
          <a:prstGeom prst="rect">
            <a:avLst/>
          </a:prstGeom>
        </p:spPr>
      </p:pic>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292101" y="4048755"/>
            <a:ext cx="3477026" cy="1579688"/>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292103" y="2823581"/>
            <a:ext cx="3477025" cy="1107996"/>
          </a:xfrm>
        </p:spPr>
        <p:txBody>
          <a:bodyPr anchor="b">
            <a:noAutofit/>
          </a:bodyPr>
          <a:lstStyle>
            <a:lvl1pPr>
              <a:lnSpc>
                <a:spcPct val="90000"/>
              </a:lnSpc>
              <a:defRPr sz="2250">
                <a:solidFill>
                  <a:schemeClr val="tx2"/>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70" y="365499"/>
            <a:ext cx="1396216" cy="103875"/>
          </a:xfrm>
          <a:prstGeom prst="rect">
            <a:avLst/>
          </a:prstGeom>
          <a:noFill/>
        </p:spPr>
        <p:txBody>
          <a:bodyPr wrap="none" lIns="0" tIns="0" rIns="0" bIns="0" rtlCol="0">
            <a:spAutoFit/>
          </a:bodyPr>
          <a:lstStyle/>
          <a:p>
            <a:r>
              <a:rPr lang="en-AU" sz="675" b="1" i="0">
                <a:solidFill>
                  <a:schemeClr val="tx2"/>
                </a:solidFill>
                <a:latin typeface="Montserrat SemiBold" pitchFamily="2" charset="77"/>
              </a:rPr>
              <a:t>NSW Department of Education</a:t>
            </a:r>
          </a:p>
        </p:txBody>
      </p:sp>
      <p:pic>
        <p:nvPicPr>
          <p:cNvPr id="11" name="Picture 10" descr="NSW Government Logo" title="NSW Government Logo"/>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52797" y="5953395"/>
            <a:ext cx="659277" cy="720000"/>
          </a:xfrm>
          <a:prstGeom prst="rect">
            <a:avLst/>
          </a:prstGeom>
        </p:spPr>
      </p:pic>
    </p:spTree>
    <p:extLst>
      <p:ext uri="{BB962C8B-B14F-4D97-AF65-F5344CB8AC3E}">
        <p14:creationId xmlns:p14="http://schemas.microsoft.com/office/powerpoint/2010/main" val="3470249050"/>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292099" y="4048762"/>
            <a:ext cx="3477026" cy="1766983"/>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292101" y="2823581"/>
            <a:ext cx="3477025" cy="1107996"/>
          </a:xfrm>
        </p:spPr>
        <p:txBody>
          <a:bodyPr anchor="b">
            <a:noAutofit/>
          </a:bodyPr>
          <a:lstStyle>
            <a:lvl1pPr>
              <a:lnSpc>
                <a:spcPct val="90000"/>
              </a:lnSpc>
              <a:defRPr sz="2250">
                <a:solidFill>
                  <a:schemeClr val="tx2"/>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70" y="365499"/>
            <a:ext cx="1396216" cy="103875"/>
          </a:xfrm>
          <a:prstGeom prst="rect">
            <a:avLst/>
          </a:prstGeom>
          <a:noFill/>
        </p:spPr>
        <p:txBody>
          <a:bodyPr wrap="none" lIns="0" tIns="0" rIns="0" bIns="0" rtlCol="0">
            <a:spAutoFit/>
          </a:bodyPr>
          <a:lstStyle/>
          <a:p>
            <a:r>
              <a:rPr lang="en-AU" sz="675" b="1" i="0">
                <a:solidFill>
                  <a:schemeClr val="tx2"/>
                </a:solidFill>
                <a:latin typeface="Montserrat SemiBold" pitchFamily="2" charset="77"/>
              </a:rPr>
              <a:t>NSW Department of Education</a:t>
            </a:r>
          </a:p>
        </p:txBody>
      </p:sp>
      <p:pic>
        <p:nvPicPr>
          <p:cNvPr id="11" name="Picture 10" descr="NSW Government Logo" title="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60454" y="5961559"/>
            <a:ext cx="659277" cy="720000"/>
          </a:xfrm>
          <a:prstGeom prst="rect">
            <a:avLst/>
          </a:prstGeom>
        </p:spPr>
      </p:pic>
      <p:sp>
        <p:nvSpPr>
          <p:cNvPr id="3" name="TextBox 2">
            <a:extLst>
              <a:ext uri="{FF2B5EF4-FFF2-40B4-BE49-F238E27FC236}">
                <a16:creationId xmlns:a16="http://schemas.microsoft.com/office/drawing/2014/main" id="{FDBF3B5F-3C25-2D4B-8B90-C5502DE028CB}"/>
              </a:ext>
            </a:extLst>
          </p:cNvPr>
          <p:cNvSpPr txBox="1"/>
          <p:nvPr userDrawn="1"/>
        </p:nvSpPr>
        <p:spPr>
          <a:xfrm>
            <a:off x="8188036" y="1194955"/>
            <a:ext cx="0" cy="0"/>
          </a:xfrm>
          <a:prstGeom prst="rect">
            <a:avLst/>
          </a:prstGeom>
          <a:noFill/>
        </p:spPr>
        <p:txBody>
          <a:bodyPr wrap="none" lIns="0" tIns="0" rIns="0" bIns="0" rtlCol="0">
            <a:noAutofit/>
          </a:bodyPr>
          <a:lstStyle/>
          <a:p>
            <a:pPr algn="l"/>
            <a:endParaRPr lang="en-US" sz="1050"/>
          </a:p>
        </p:txBody>
      </p:sp>
    </p:spTree>
    <p:extLst>
      <p:ext uri="{BB962C8B-B14F-4D97-AF65-F5344CB8AC3E}">
        <p14:creationId xmlns:p14="http://schemas.microsoft.com/office/powerpoint/2010/main" val="1077907709"/>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8"/>
            <a:ext cx="305754" cy="365125"/>
          </a:xfrm>
          <a:prstGeom prst="rect">
            <a:avLst/>
          </a:prstGeom>
        </p:spPr>
        <p:txBody>
          <a:bodyPr vert="horz" lIns="0" tIns="0" rIns="0" bIns="0" rtlCol="0" anchor="b" anchorCtr="0"/>
          <a:lstStyle>
            <a:lvl1pPr algn="l">
              <a:defRPr sz="600" b="0" i="0">
                <a:solidFill>
                  <a:schemeClr val="tx2"/>
                </a:solidFill>
                <a:latin typeface="+mn-lt"/>
              </a:defRPr>
            </a:lvl1pPr>
          </a:lstStyle>
          <a:p>
            <a:endParaRPr lang="en-US"/>
          </a:p>
        </p:txBody>
      </p:sp>
      <p:sp>
        <p:nvSpPr>
          <p:cNvPr id="4" name="Text Placeholder 3"/>
          <p:cNvSpPr>
            <a:spLocks noGrp="1"/>
          </p:cNvSpPr>
          <p:nvPr>
            <p:ph type="body" sz="quarter" idx="19"/>
          </p:nvPr>
        </p:nvSpPr>
        <p:spPr>
          <a:xfrm>
            <a:off x="297273" y="1844677"/>
            <a:ext cx="8659415" cy="417870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27" name="Text Placeholder 2078">
            <a:extLst>
              <a:ext uri="{FF2B5EF4-FFF2-40B4-BE49-F238E27FC236}">
                <a16:creationId xmlns:a16="http://schemas.microsoft.com/office/drawing/2014/main" id="{6CEE090E-CCFD-D641-BC04-E336F151C887}"/>
              </a:ext>
            </a:extLst>
          </p:cNvPr>
          <p:cNvSpPr>
            <a:spLocks noGrp="1"/>
          </p:cNvSpPr>
          <p:nvPr>
            <p:ph type="body" sz="quarter" idx="15" hasCustomPrompt="1"/>
          </p:nvPr>
        </p:nvSpPr>
        <p:spPr>
          <a:xfrm>
            <a:off x="292151" y="1210247"/>
            <a:ext cx="6574221" cy="467634"/>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15" name="Title 1">
            <a:extLst>
              <a:ext uri="{FF2B5EF4-FFF2-40B4-BE49-F238E27FC236}">
                <a16:creationId xmlns:a16="http://schemas.microsoft.com/office/drawing/2014/main" id="{230DD9A7-09FE-4E1B-A672-CED018A0372F}"/>
              </a:ext>
            </a:extLst>
          </p:cNvPr>
          <p:cNvSpPr>
            <a:spLocks noGrp="1"/>
          </p:cNvSpPr>
          <p:nvPr>
            <p:ph type="title" hasCustomPrompt="1"/>
          </p:nvPr>
        </p:nvSpPr>
        <p:spPr>
          <a:xfrm>
            <a:off x="292151" y="703448"/>
            <a:ext cx="6727361" cy="498470"/>
          </a:xfrm>
        </p:spPr>
        <p:txBody>
          <a:bodyPr>
            <a:noAutofit/>
          </a:bodyPr>
          <a:lstStyle>
            <a:lvl1pPr>
              <a:defRPr>
                <a:solidFill>
                  <a:schemeClr val="tx2"/>
                </a:solidFill>
              </a:defRPr>
            </a:lvl1pPr>
          </a:lstStyle>
          <a:p>
            <a:r>
              <a:rPr lang="en-US"/>
              <a:t>Agenda slide</a:t>
            </a:r>
            <a:endParaRPr lang="en-AU"/>
          </a:p>
        </p:txBody>
      </p:sp>
      <p:cxnSp>
        <p:nvCxnSpPr>
          <p:cNvPr id="21" name="Straight Connector 20">
            <a:extLst>
              <a:ext uri="{FF2B5EF4-FFF2-40B4-BE49-F238E27FC236}">
                <a16:creationId xmlns:a16="http://schemas.microsoft.com/office/drawing/2014/main" id="{BC913C52-0751-BC4D-A716-67C521725C4C}"/>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385F729-539D-F848-B304-C18B0623A65C}"/>
              </a:ext>
            </a:extLst>
          </p:cNvPr>
          <p:cNvSpPr txBox="1"/>
          <p:nvPr userDrawn="1"/>
        </p:nvSpPr>
        <p:spPr>
          <a:xfrm>
            <a:off x="306970" y="365499"/>
            <a:ext cx="1396216" cy="103875"/>
          </a:xfrm>
          <a:prstGeom prst="rect">
            <a:avLst/>
          </a:prstGeom>
          <a:noFill/>
        </p:spPr>
        <p:txBody>
          <a:bodyPr wrap="none" lIns="0" tIns="0" rIns="0" bIns="0" rtlCol="0">
            <a:spAutoFit/>
          </a:bodyPr>
          <a:lstStyle/>
          <a:p>
            <a:r>
              <a:rPr lang="en-AU" sz="675" b="1" i="0">
                <a:solidFill>
                  <a:schemeClr val="tx2"/>
                </a:solidFill>
                <a:latin typeface="Montserrat SemiBold" pitchFamily="2" charset="77"/>
              </a:rPr>
              <a:t>NSW Department of Education</a:t>
            </a:r>
          </a:p>
        </p:txBody>
      </p:sp>
      <p:pic>
        <p:nvPicPr>
          <p:cNvPr id="11" name="Picture 10" descr="NSW Government Logo" title="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85743" y="6121867"/>
            <a:ext cx="494457" cy="540000"/>
          </a:xfrm>
          <a:prstGeom prst="rect">
            <a:avLst/>
          </a:prstGeom>
        </p:spPr>
      </p:pic>
    </p:spTree>
    <p:extLst>
      <p:ext uri="{BB962C8B-B14F-4D97-AF65-F5344CB8AC3E}">
        <p14:creationId xmlns:p14="http://schemas.microsoft.com/office/powerpoint/2010/main" val="1174641322"/>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lumn Content A">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a:xfrm>
            <a:off x="294661" y="1844675"/>
            <a:ext cx="8628224" cy="423652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5"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2" y="1245631"/>
            <a:ext cx="8627651" cy="419659"/>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9" name="Title Placeholder 1"/>
          <p:cNvSpPr>
            <a:spLocks noGrp="1"/>
          </p:cNvSpPr>
          <p:nvPr>
            <p:ph type="title"/>
          </p:nvPr>
        </p:nvSpPr>
        <p:spPr>
          <a:xfrm>
            <a:off x="292101"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6"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8"/>
            <a:ext cx="305754" cy="365125"/>
          </a:xfrm>
          <a:prstGeom prst="rect">
            <a:avLst/>
          </a:prstGeom>
        </p:spPr>
        <p:txBody>
          <a:bodyPr vert="horz" lIns="0" tIns="0" rIns="0" bIns="0" rtlCol="0" anchor="b" anchorCtr="0"/>
          <a:lstStyle>
            <a:lvl1pPr algn="l">
              <a:defRPr sz="600" b="0" i="0">
                <a:solidFill>
                  <a:schemeClr val="tx2"/>
                </a:solidFill>
                <a:latin typeface="+mn-lt"/>
              </a:defRPr>
            </a:lvl1pPr>
          </a:lstStyle>
          <a:p>
            <a:endParaRPr lang="en-US"/>
          </a:p>
        </p:txBody>
      </p:sp>
    </p:spTree>
    <p:extLst>
      <p:ext uri="{BB962C8B-B14F-4D97-AF65-F5344CB8AC3E}">
        <p14:creationId xmlns:p14="http://schemas.microsoft.com/office/powerpoint/2010/main" val="3977825684"/>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Content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292101" y="1844677"/>
            <a:ext cx="8572723" cy="42454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2" y="1245631"/>
            <a:ext cx="8627651" cy="419659"/>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11" name="Title Placeholder 1"/>
          <p:cNvSpPr>
            <a:spLocks noGrp="1"/>
          </p:cNvSpPr>
          <p:nvPr>
            <p:ph type="title"/>
          </p:nvPr>
        </p:nvSpPr>
        <p:spPr>
          <a:xfrm>
            <a:off x="292101"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7"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8"/>
            <a:ext cx="305754" cy="365125"/>
          </a:xfrm>
          <a:prstGeom prst="rect">
            <a:avLst/>
          </a:prstGeom>
        </p:spPr>
        <p:txBody>
          <a:bodyPr vert="horz" lIns="0" tIns="0" rIns="0" bIns="0" rtlCol="0" anchor="b" anchorCtr="0"/>
          <a:lstStyle>
            <a:lvl1pPr algn="l">
              <a:defRPr sz="600" b="0" i="0">
                <a:solidFill>
                  <a:schemeClr val="tx2"/>
                </a:solidFill>
                <a:latin typeface="+mn-lt"/>
              </a:defRPr>
            </a:lvl1pPr>
          </a:lstStyle>
          <a:p>
            <a:endParaRPr lang="en-US"/>
          </a:p>
        </p:txBody>
      </p:sp>
    </p:spTree>
    <p:extLst>
      <p:ext uri="{BB962C8B-B14F-4D97-AF65-F5344CB8AC3E}">
        <p14:creationId xmlns:p14="http://schemas.microsoft.com/office/powerpoint/2010/main" val="3076288205"/>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Slide A">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8"/>
          </p:nvPr>
        </p:nvSpPr>
        <p:spPr>
          <a:xfrm>
            <a:off x="4572001" y="1844678"/>
            <a:ext cx="4335465" cy="41477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quarter" idx="17"/>
          </p:nvPr>
        </p:nvSpPr>
        <p:spPr>
          <a:xfrm>
            <a:off x="292101" y="1844676"/>
            <a:ext cx="4183856" cy="41477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2" y="1245631"/>
            <a:ext cx="8627651" cy="419659"/>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11" name="Title Placeholder 1"/>
          <p:cNvSpPr>
            <a:spLocks noGrp="1"/>
          </p:cNvSpPr>
          <p:nvPr>
            <p:ph type="title"/>
          </p:nvPr>
        </p:nvSpPr>
        <p:spPr>
          <a:xfrm>
            <a:off x="292101"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7"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8"/>
            <a:ext cx="305754" cy="365125"/>
          </a:xfrm>
          <a:prstGeom prst="rect">
            <a:avLst/>
          </a:prstGeom>
        </p:spPr>
        <p:txBody>
          <a:bodyPr vert="horz" lIns="0" tIns="0" rIns="0" bIns="0" rtlCol="0" anchor="b" anchorCtr="0"/>
          <a:lstStyle>
            <a:lvl1pPr algn="l">
              <a:defRPr sz="600" b="0" i="0">
                <a:solidFill>
                  <a:schemeClr val="tx2"/>
                </a:solidFill>
                <a:latin typeface="+mn-lt"/>
              </a:defRPr>
            </a:lvl1pPr>
          </a:lstStyle>
          <a:p>
            <a:endParaRPr lang="en-US"/>
          </a:p>
        </p:txBody>
      </p:sp>
    </p:spTree>
    <p:extLst>
      <p:ext uri="{BB962C8B-B14F-4D97-AF65-F5344CB8AC3E}">
        <p14:creationId xmlns:p14="http://schemas.microsoft.com/office/powerpoint/2010/main" val="1701804171"/>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example bar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12" name="Chart Placeholder 5" descr="Name of bar chart to be inserted" title="Chart">
            <a:extLst>
              <a:ext uri="{FF2B5EF4-FFF2-40B4-BE49-F238E27FC236}">
                <a16:creationId xmlns:a16="http://schemas.microsoft.com/office/drawing/2014/main" id="{78CDAE48-35F7-4A8F-908A-26AABCF38BAC}"/>
              </a:ext>
            </a:extLst>
          </p:cNvPr>
          <p:cNvGraphicFramePr>
            <a:graphicFrameLocks/>
          </p:cNvGraphicFramePr>
          <p:nvPr userDrawn="1"/>
        </p:nvGraphicFramePr>
        <p:xfrm>
          <a:off x="4062201" y="1844677"/>
          <a:ext cx="5051624" cy="41388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7"/>
          </p:nvPr>
        </p:nvSpPr>
        <p:spPr>
          <a:xfrm>
            <a:off x="292101" y="1844677"/>
            <a:ext cx="3864547" cy="413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2" y="1245631"/>
            <a:ext cx="8627651" cy="430205"/>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18" name="Title Placeholder 1"/>
          <p:cNvSpPr>
            <a:spLocks noGrp="1"/>
          </p:cNvSpPr>
          <p:nvPr>
            <p:ph type="title"/>
          </p:nvPr>
        </p:nvSpPr>
        <p:spPr>
          <a:xfrm>
            <a:off x="292101"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8"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8"/>
            <a:ext cx="305754" cy="365125"/>
          </a:xfrm>
          <a:prstGeom prst="rect">
            <a:avLst/>
          </a:prstGeom>
        </p:spPr>
        <p:txBody>
          <a:bodyPr vert="horz" lIns="0" tIns="0" rIns="0" bIns="0" rtlCol="0" anchor="b" anchorCtr="0"/>
          <a:lstStyle>
            <a:lvl1pPr algn="l">
              <a:defRPr sz="600" b="0" i="0">
                <a:solidFill>
                  <a:schemeClr val="tx2"/>
                </a:solidFill>
                <a:latin typeface="+mn-lt"/>
              </a:defRPr>
            </a:lvl1pPr>
          </a:lstStyle>
          <a:p>
            <a:endParaRPr lang="en-US"/>
          </a:p>
        </p:txBody>
      </p:sp>
    </p:spTree>
    <p:extLst>
      <p:ext uri="{BB962C8B-B14F-4D97-AF65-F5344CB8AC3E}">
        <p14:creationId xmlns:p14="http://schemas.microsoft.com/office/powerpoint/2010/main" val="3537641706"/>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example pie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11" name="Chart Placeholder 6" descr="Name of pie chart to be inserted" title="Chart">
            <a:extLst>
              <a:ext uri="{FF2B5EF4-FFF2-40B4-BE49-F238E27FC236}">
                <a16:creationId xmlns:a16="http://schemas.microsoft.com/office/drawing/2014/main" id="{605EC759-23A5-412D-8489-3CD3D3F4FD71}"/>
              </a:ext>
            </a:extLst>
          </p:cNvPr>
          <p:cNvGraphicFramePr>
            <a:graphicFrameLocks/>
          </p:cNvGraphicFramePr>
          <p:nvPr userDrawn="1"/>
        </p:nvGraphicFramePr>
        <p:xfrm>
          <a:off x="4706523" y="1844676"/>
          <a:ext cx="4177487" cy="409381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7"/>
          </p:nvPr>
        </p:nvSpPr>
        <p:spPr>
          <a:xfrm>
            <a:off x="292101" y="1844677"/>
            <a:ext cx="4177487" cy="40938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20" name="Straight Connector 19">
            <a:extLst>
              <a:ext uri="{FF2B5EF4-FFF2-40B4-BE49-F238E27FC236}">
                <a16:creationId xmlns:a16="http://schemas.microsoft.com/office/drawing/2014/main" id="{DEF174A2-A12A-574C-A29E-3FE1A83AA8A7}"/>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A29AAED-C026-A74D-986A-D99794BFEDDD}"/>
              </a:ext>
            </a:extLst>
          </p:cNvPr>
          <p:cNvSpPr txBox="1"/>
          <p:nvPr userDrawn="1"/>
        </p:nvSpPr>
        <p:spPr>
          <a:xfrm>
            <a:off x="306970" y="365499"/>
            <a:ext cx="1396216" cy="103875"/>
          </a:xfrm>
          <a:prstGeom prst="rect">
            <a:avLst/>
          </a:prstGeom>
          <a:noFill/>
        </p:spPr>
        <p:txBody>
          <a:bodyPr wrap="none" lIns="0" tIns="0" rIns="0" bIns="0" rtlCol="0">
            <a:spAutoFit/>
          </a:bodyPr>
          <a:lstStyle/>
          <a:p>
            <a:r>
              <a:rPr lang="en-AU" sz="675" b="1" i="0">
                <a:solidFill>
                  <a:schemeClr val="tx2"/>
                </a:solidFill>
                <a:latin typeface="Montserrat SemiBold" pitchFamily="2" charset="77"/>
              </a:rPr>
              <a:t>NSW Department of Education</a:t>
            </a:r>
          </a:p>
        </p:txBody>
      </p:sp>
      <p:pic>
        <p:nvPicPr>
          <p:cNvPr id="12" name="Picture 11" descr="NSW Government Logo" title="NSW Government Logo"/>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385743" y="6121867"/>
            <a:ext cx="494457" cy="540000"/>
          </a:xfrm>
          <a:prstGeom prst="rect">
            <a:avLst/>
          </a:prstGeom>
        </p:spPr>
      </p:pic>
      <p:sp>
        <p:nvSpPr>
          <p:cNvPr id="13" name="Text Placeholder 2078">
            <a:extLst>
              <a:ext uri="{FF2B5EF4-FFF2-40B4-BE49-F238E27FC236}">
                <a16:creationId xmlns:a16="http://schemas.microsoft.com/office/drawing/2014/main" id="{DE976D40-EB64-8443-8524-2F97084E2CFB}"/>
              </a:ext>
            </a:extLst>
          </p:cNvPr>
          <p:cNvSpPr>
            <a:spLocks noGrp="1"/>
          </p:cNvSpPr>
          <p:nvPr userDrawn="1">
            <p:ph type="body" sz="quarter" idx="15" hasCustomPrompt="1"/>
          </p:nvPr>
        </p:nvSpPr>
        <p:spPr>
          <a:xfrm>
            <a:off x="294662" y="1245631"/>
            <a:ext cx="8627651" cy="419659"/>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14" name="Title Placeholder 1"/>
          <p:cNvSpPr>
            <a:spLocks noGrp="1"/>
          </p:cNvSpPr>
          <p:nvPr userDrawn="1">
            <p:ph type="title"/>
          </p:nvPr>
        </p:nvSpPr>
        <p:spPr>
          <a:xfrm>
            <a:off x="292101"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15" name="Footer Placeholder 3">
            <a:extLst>
              <a:ext uri="{FF2B5EF4-FFF2-40B4-BE49-F238E27FC236}">
                <a16:creationId xmlns:a16="http://schemas.microsoft.com/office/drawing/2014/main" id="{451CE90D-C2B7-A145-B742-F4069E2952AF}"/>
              </a:ext>
            </a:extLst>
          </p:cNvPr>
          <p:cNvSpPr>
            <a:spLocks noGrp="1"/>
          </p:cNvSpPr>
          <p:nvPr userDrawn="1">
            <p:ph type="ftr" sz="quarter" idx="3"/>
          </p:nvPr>
        </p:nvSpPr>
        <p:spPr>
          <a:xfrm>
            <a:off x="292150" y="6258128"/>
            <a:ext cx="305754" cy="365125"/>
          </a:xfrm>
          <a:prstGeom prst="rect">
            <a:avLst/>
          </a:prstGeom>
        </p:spPr>
        <p:txBody>
          <a:bodyPr vert="horz" lIns="0" tIns="0" rIns="0" bIns="0" rtlCol="0" anchor="b" anchorCtr="0"/>
          <a:lstStyle>
            <a:lvl1pPr algn="l">
              <a:defRPr sz="600" b="0" i="0">
                <a:solidFill>
                  <a:schemeClr val="tx2"/>
                </a:solidFill>
                <a:latin typeface="+mn-lt"/>
              </a:defRPr>
            </a:lvl1pPr>
          </a:lstStyle>
          <a:p>
            <a:endParaRPr lang="en-US"/>
          </a:p>
        </p:txBody>
      </p:sp>
    </p:spTree>
    <p:extLst>
      <p:ext uri="{BB962C8B-B14F-4D97-AF65-F5344CB8AC3E}">
        <p14:creationId xmlns:p14="http://schemas.microsoft.com/office/powerpoint/2010/main" val="371285370"/>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263806" y="4048760"/>
            <a:ext cx="3477026" cy="904985"/>
          </a:xfrm>
          <a:prstGeom prst="rect">
            <a:avLst/>
          </a:prstGeom>
        </p:spPr>
        <p:txBody>
          <a:bodyPr wrap="square" lIns="0">
            <a:noAutofit/>
          </a:bodyPr>
          <a:lstStyle>
            <a:lvl1pPr marL="0" indent="0">
              <a:buNone/>
              <a:defRPr sz="180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263808" y="2823581"/>
            <a:ext cx="3477025" cy="1107996"/>
          </a:xfrm>
        </p:spPr>
        <p:txBody>
          <a:bodyPr anchor="b">
            <a:noAutofit/>
          </a:bodyPr>
          <a:lstStyle>
            <a:lvl1pPr>
              <a:lnSpc>
                <a:spcPct val="90000"/>
              </a:lnSpc>
              <a:defRPr sz="300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69" y="365498"/>
            <a:ext cx="1853071" cy="138499"/>
          </a:xfrm>
          <a:prstGeom prst="rect">
            <a:avLst/>
          </a:prstGeom>
          <a:noFill/>
        </p:spPr>
        <p:txBody>
          <a:bodyPr wrap="none" lIns="0" tIns="0" rIns="0" bIns="0" rtlCol="0">
            <a:spAutoFit/>
          </a:bodyPr>
          <a:lstStyle/>
          <a:p>
            <a:r>
              <a:rPr lang="en-AU" sz="900" b="1" i="0">
                <a:solidFill>
                  <a:schemeClr val="bg1"/>
                </a:solidFill>
                <a:latin typeface="Montserrat SemiBold" pitchFamily="2" charset="77"/>
              </a:rPr>
              <a:t>NSW Department of Education</a:t>
            </a:r>
          </a:p>
        </p:txBody>
      </p:sp>
      <p:pic>
        <p:nvPicPr>
          <p:cNvPr id="10" name="Picture 9" descr="NSW Government Logo" title="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3748" y="5912575"/>
            <a:ext cx="665883" cy="720000"/>
          </a:xfrm>
          <a:prstGeom prst="rect">
            <a:avLst/>
          </a:prstGeom>
        </p:spPr>
      </p:pic>
    </p:spTree>
    <p:extLst>
      <p:ext uri="{BB962C8B-B14F-4D97-AF65-F5344CB8AC3E}">
        <p14:creationId xmlns:p14="http://schemas.microsoft.com/office/powerpoint/2010/main" val="1921023869"/>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F0DC3A9-4AE8-4D39-96BD-7D19AA2EEC40}"/>
              </a:ext>
            </a:extLst>
          </p:cNvPr>
          <p:cNvSpPr>
            <a:spLocks noGrp="1"/>
          </p:cNvSpPr>
          <p:nvPr>
            <p:ph type="pic" sz="quarter" idx="17"/>
          </p:nvPr>
        </p:nvSpPr>
        <p:spPr>
          <a:xfrm>
            <a:off x="4572001" y="1844675"/>
            <a:ext cx="4354316" cy="4067175"/>
          </a:xfrm>
        </p:spPr>
        <p:txBody>
          <a:bodyPr>
            <a:normAutofit/>
          </a:bodyPr>
          <a:lstStyle>
            <a:lvl1pPr marL="0" indent="0">
              <a:buNone/>
              <a:defRPr sz="1013"/>
            </a:lvl1pPr>
          </a:lstStyle>
          <a:p>
            <a:r>
              <a:rPr lang="en-US"/>
              <a:t>Click icon to add picture</a:t>
            </a:r>
            <a:endParaRPr lang="en-AU"/>
          </a:p>
        </p:txBody>
      </p:sp>
      <p:sp>
        <p:nvSpPr>
          <p:cNvPr id="3" name="Text Placeholder 2"/>
          <p:cNvSpPr>
            <a:spLocks noGrp="1"/>
          </p:cNvSpPr>
          <p:nvPr>
            <p:ph type="body" sz="quarter" idx="16"/>
          </p:nvPr>
        </p:nvSpPr>
        <p:spPr>
          <a:xfrm>
            <a:off x="298091" y="1844675"/>
            <a:ext cx="4140744" cy="4067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2" y="1245631"/>
            <a:ext cx="8627651" cy="419659"/>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12" name="Title Placeholder 1"/>
          <p:cNvSpPr>
            <a:spLocks noGrp="1"/>
          </p:cNvSpPr>
          <p:nvPr>
            <p:ph type="title"/>
          </p:nvPr>
        </p:nvSpPr>
        <p:spPr>
          <a:xfrm>
            <a:off x="292101"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7"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8"/>
            <a:ext cx="305754" cy="365125"/>
          </a:xfrm>
          <a:prstGeom prst="rect">
            <a:avLst/>
          </a:prstGeom>
        </p:spPr>
        <p:txBody>
          <a:bodyPr vert="horz" lIns="0" tIns="0" rIns="0" bIns="0" rtlCol="0" anchor="b" anchorCtr="0"/>
          <a:lstStyle>
            <a:lvl1pPr algn="l">
              <a:defRPr sz="600" b="0" i="0">
                <a:solidFill>
                  <a:schemeClr val="tx2"/>
                </a:solidFill>
                <a:latin typeface="+mn-lt"/>
              </a:defRPr>
            </a:lvl1pPr>
          </a:lstStyle>
          <a:p>
            <a:endParaRPr lang="en-US"/>
          </a:p>
        </p:txBody>
      </p:sp>
    </p:spTree>
    <p:extLst>
      <p:ext uri="{BB962C8B-B14F-4D97-AF65-F5344CB8AC3E}">
        <p14:creationId xmlns:p14="http://schemas.microsoft.com/office/powerpoint/2010/main" val="3070980199"/>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Tab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ED2C0BA2-4F2F-4DB2-B9B9-254956473F7A}"/>
              </a:ext>
            </a:extLst>
          </p:cNvPr>
          <p:cNvSpPr>
            <a:spLocks noGrp="1"/>
          </p:cNvSpPr>
          <p:nvPr>
            <p:ph type="tbl" sz="quarter" idx="18"/>
          </p:nvPr>
        </p:nvSpPr>
        <p:spPr>
          <a:xfrm>
            <a:off x="4572000" y="1844675"/>
            <a:ext cx="4289512" cy="4067176"/>
          </a:xfrm>
        </p:spPr>
        <p:txBody>
          <a:bodyPr>
            <a:normAutofit/>
          </a:bodyPr>
          <a:lstStyle>
            <a:lvl1pPr marL="0" indent="0">
              <a:buNone/>
              <a:defRPr sz="1013"/>
            </a:lvl1pPr>
          </a:lstStyle>
          <a:p>
            <a:r>
              <a:rPr lang="en-US"/>
              <a:t>Click icon to add table</a:t>
            </a:r>
            <a:endParaRPr lang="en-AU"/>
          </a:p>
        </p:txBody>
      </p:sp>
      <p:sp>
        <p:nvSpPr>
          <p:cNvPr id="4" name="Text Placeholder 3"/>
          <p:cNvSpPr>
            <a:spLocks noGrp="1"/>
          </p:cNvSpPr>
          <p:nvPr>
            <p:ph type="body" sz="quarter" idx="17"/>
          </p:nvPr>
        </p:nvSpPr>
        <p:spPr>
          <a:xfrm>
            <a:off x="292101" y="1844675"/>
            <a:ext cx="4120102" cy="4067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2" y="1245631"/>
            <a:ext cx="8627651" cy="419659"/>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14" name="Title Placeholder 1"/>
          <p:cNvSpPr>
            <a:spLocks noGrp="1"/>
          </p:cNvSpPr>
          <p:nvPr>
            <p:ph type="title"/>
          </p:nvPr>
        </p:nvSpPr>
        <p:spPr>
          <a:xfrm>
            <a:off x="292101"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8"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8"/>
            <a:ext cx="305754" cy="365125"/>
          </a:xfrm>
          <a:prstGeom prst="rect">
            <a:avLst/>
          </a:prstGeom>
        </p:spPr>
        <p:txBody>
          <a:bodyPr vert="horz" lIns="0" tIns="0" rIns="0" bIns="0" rtlCol="0" anchor="b" anchorCtr="0"/>
          <a:lstStyle>
            <a:lvl1pPr algn="l">
              <a:defRPr sz="600" b="0" i="0">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B1B7782E-9F13-7747-9D25-96B05BFAA5DD}"/>
              </a:ext>
            </a:extLst>
          </p:cNvPr>
          <p:cNvSpPr txBox="1"/>
          <p:nvPr userDrawn="1"/>
        </p:nvSpPr>
        <p:spPr>
          <a:xfrm>
            <a:off x="249382" y="415636"/>
            <a:ext cx="0" cy="0"/>
          </a:xfrm>
          <a:prstGeom prst="rect">
            <a:avLst/>
          </a:prstGeom>
          <a:noFill/>
        </p:spPr>
        <p:txBody>
          <a:bodyPr wrap="none" lIns="0" tIns="0" rIns="0" bIns="0" rtlCol="0">
            <a:noAutofit/>
          </a:bodyPr>
          <a:lstStyle/>
          <a:p>
            <a:pPr algn="l"/>
            <a:endParaRPr lang="en-US" sz="1050"/>
          </a:p>
        </p:txBody>
      </p:sp>
    </p:spTree>
    <p:extLst>
      <p:ext uri="{BB962C8B-B14F-4D97-AF65-F5344CB8AC3E}">
        <p14:creationId xmlns:p14="http://schemas.microsoft.com/office/powerpoint/2010/main" val="365513640"/>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62F238E7-DF0B-440A-80CD-92A5852D35B8}"/>
              </a:ext>
            </a:extLst>
          </p:cNvPr>
          <p:cNvSpPr>
            <a:spLocks noGrp="1"/>
          </p:cNvSpPr>
          <p:nvPr>
            <p:ph type="chart" sz="quarter" idx="18"/>
          </p:nvPr>
        </p:nvSpPr>
        <p:spPr>
          <a:xfrm>
            <a:off x="4572000" y="1844675"/>
            <a:ext cx="4279900" cy="4129998"/>
          </a:xfrm>
        </p:spPr>
        <p:txBody>
          <a:bodyPr>
            <a:normAutofit/>
          </a:bodyPr>
          <a:lstStyle>
            <a:lvl1pPr marL="0" indent="0">
              <a:buNone/>
              <a:defRPr sz="1013">
                <a:solidFill>
                  <a:schemeClr val="tx2"/>
                </a:solidFill>
              </a:defRPr>
            </a:lvl1pPr>
          </a:lstStyle>
          <a:p>
            <a:r>
              <a:rPr lang="en-US"/>
              <a:t>Click icon to add chart</a:t>
            </a:r>
            <a:endParaRPr lang="en-AU"/>
          </a:p>
        </p:txBody>
      </p:sp>
      <p:sp>
        <p:nvSpPr>
          <p:cNvPr id="4" name="Text Placeholder 3"/>
          <p:cNvSpPr>
            <a:spLocks noGrp="1"/>
          </p:cNvSpPr>
          <p:nvPr>
            <p:ph type="body" sz="quarter" idx="17"/>
          </p:nvPr>
        </p:nvSpPr>
        <p:spPr>
          <a:xfrm>
            <a:off x="292101" y="1844675"/>
            <a:ext cx="4111224" cy="412999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2" y="1245631"/>
            <a:ext cx="8627651" cy="419659"/>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13" name="Title Placeholder 1"/>
          <p:cNvSpPr>
            <a:spLocks noGrp="1"/>
          </p:cNvSpPr>
          <p:nvPr>
            <p:ph type="title"/>
          </p:nvPr>
        </p:nvSpPr>
        <p:spPr>
          <a:xfrm>
            <a:off x="292101"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8"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8"/>
            <a:ext cx="305754" cy="365125"/>
          </a:xfrm>
          <a:prstGeom prst="rect">
            <a:avLst/>
          </a:prstGeom>
        </p:spPr>
        <p:txBody>
          <a:bodyPr vert="horz" lIns="0" tIns="0" rIns="0" bIns="0" rtlCol="0" anchor="b" anchorCtr="0"/>
          <a:lstStyle>
            <a:lvl1pPr algn="l">
              <a:defRPr sz="600" b="0" i="0">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7197EDAD-CF55-D841-9671-910D0B8F9569}"/>
              </a:ext>
            </a:extLst>
          </p:cNvPr>
          <p:cNvSpPr txBox="1"/>
          <p:nvPr userDrawn="1"/>
        </p:nvSpPr>
        <p:spPr>
          <a:xfrm>
            <a:off x="654627" y="374073"/>
            <a:ext cx="0" cy="0"/>
          </a:xfrm>
          <a:prstGeom prst="rect">
            <a:avLst/>
          </a:prstGeom>
          <a:noFill/>
        </p:spPr>
        <p:txBody>
          <a:bodyPr wrap="none" lIns="0" tIns="0" rIns="0" bIns="0" rtlCol="0">
            <a:noAutofit/>
          </a:bodyPr>
          <a:lstStyle/>
          <a:p>
            <a:pPr algn="l"/>
            <a:endParaRPr lang="en-US" sz="1050"/>
          </a:p>
        </p:txBody>
      </p:sp>
    </p:spTree>
    <p:extLst>
      <p:ext uri="{BB962C8B-B14F-4D97-AF65-F5344CB8AC3E}">
        <p14:creationId xmlns:p14="http://schemas.microsoft.com/office/powerpoint/2010/main" val="3005155739"/>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ulti image and text">
    <p:spTree>
      <p:nvGrpSpPr>
        <p:cNvPr id="1" name=""/>
        <p:cNvGrpSpPr/>
        <p:nvPr/>
      </p:nvGrpSpPr>
      <p:grpSpPr>
        <a:xfrm>
          <a:off x="0" y="0"/>
          <a:ext cx="0" cy="0"/>
          <a:chOff x="0" y="0"/>
          <a:chExt cx="0" cy="0"/>
        </a:xfrm>
      </p:grpSpPr>
      <p:sp>
        <p:nvSpPr>
          <p:cNvPr id="21" name="Picture Placeholder 20"/>
          <p:cNvSpPr>
            <a:spLocks noGrp="1"/>
          </p:cNvSpPr>
          <p:nvPr>
            <p:ph type="pic" sz="quarter" idx="17"/>
          </p:nvPr>
        </p:nvSpPr>
        <p:spPr>
          <a:xfrm>
            <a:off x="307975" y="1881190"/>
            <a:ext cx="1980000" cy="1704975"/>
          </a:xfrm>
        </p:spPr>
        <p:txBody>
          <a:bodyPr/>
          <a:lstStyle/>
          <a:p>
            <a:r>
              <a:rPr lang="en-US"/>
              <a:t>Click icon to add picture</a:t>
            </a:r>
            <a:endParaRPr lang="en-AU"/>
          </a:p>
        </p:txBody>
      </p:sp>
      <p:sp>
        <p:nvSpPr>
          <p:cNvPr id="22" name="Picture Placeholder 20"/>
          <p:cNvSpPr>
            <a:spLocks noGrp="1"/>
          </p:cNvSpPr>
          <p:nvPr>
            <p:ph type="pic" sz="quarter" idx="18"/>
          </p:nvPr>
        </p:nvSpPr>
        <p:spPr>
          <a:xfrm>
            <a:off x="2517034" y="1881190"/>
            <a:ext cx="1980000" cy="1704975"/>
          </a:xfrm>
        </p:spPr>
        <p:txBody>
          <a:bodyPr/>
          <a:lstStyle/>
          <a:p>
            <a:r>
              <a:rPr lang="en-US"/>
              <a:t>Click icon to add picture</a:t>
            </a:r>
            <a:endParaRPr lang="en-AU"/>
          </a:p>
        </p:txBody>
      </p:sp>
      <p:sp>
        <p:nvSpPr>
          <p:cNvPr id="23" name="Picture Placeholder 20"/>
          <p:cNvSpPr>
            <a:spLocks noGrp="1"/>
          </p:cNvSpPr>
          <p:nvPr>
            <p:ph type="pic" sz="quarter" idx="19"/>
          </p:nvPr>
        </p:nvSpPr>
        <p:spPr>
          <a:xfrm>
            <a:off x="4726093" y="1881190"/>
            <a:ext cx="1980000" cy="1704975"/>
          </a:xfrm>
        </p:spPr>
        <p:txBody>
          <a:bodyPr/>
          <a:lstStyle/>
          <a:p>
            <a:r>
              <a:rPr lang="en-US"/>
              <a:t>Click icon to add picture</a:t>
            </a:r>
            <a:endParaRPr lang="en-AU"/>
          </a:p>
        </p:txBody>
      </p:sp>
      <p:sp>
        <p:nvSpPr>
          <p:cNvPr id="24" name="Picture Placeholder 20"/>
          <p:cNvSpPr>
            <a:spLocks noGrp="1"/>
          </p:cNvSpPr>
          <p:nvPr>
            <p:ph type="pic" sz="quarter" idx="20"/>
          </p:nvPr>
        </p:nvSpPr>
        <p:spPr>
          <a:xfrm>
            <a:off x="6935151" y="1881190"/>
            <a:ext cx="1980000" cy="1704975"/>
          </a:xfrm>
        </p:spPr>
        <p:txBody>
          <a:bodyPr/>
          <a:lstStyle/>
          <a:p>
            <a:r>
              <a:rPr lang="en-US"/>
              <a:t>Click icon to add picture</a:t>
            </a:r>
            <a:endParaRPr lang="en-AU"/>
          </a:p>
        </p:txBody>
      </p:sp>
      <p:sp>
        <p:nvSpPr>
          <p:cNvPr id="26" name="Text Placeholder 25"/>
          <p:cNvSpPr>
            <a:spLocks noGrp="1"/>
          </p:cNvSpPr>
          <p:nvPr>
            <p:ph type="body" sz="quarter" idx="21"/>
          </p:nvPr>
        </p:nvSpPr>
        <p:spPr>
          <a:xfrm>
            <a:off x="307976" y="3729038"/>
            <a:ext cx="1979613" cy="2201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7" name="Text Placeholder 25"/>
          <p:cNvSpPr>
            <a:spLocks noGrp="1"/>
          </p:cNvSpPr>
          <p:nvPr>
            <p:ph type="body" sz="quarter" idx="22"/>
          </p:nvPr>
        </p:nvSpPr>
        <p:spPr>
          <a:xfrm>
            <a:off x="2517422" y="3778093"/>
            <a:ext cx="1979613" cy="2201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Text Placeholder 25"/>
          <p:cNvSpPr>
            <a:spLocks noGrp="1"/>
          </p:cNvSpPr>
          <p:nvPr>
            <p:ph type="body" sz="quarter" idx="23"/>
          </p:nvPr>
        </p:nvSpPr>
        <p:spPr>
          <a:xfrm>
            <a:off x="4732337" y="3778093"/>
            <a:ext cx="1979613" cy="2201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p:cNvSpPr>
            <a:spLocks noGrp="1"/>
          </p:cNvSpPr>
          <p:nvPr>
            <p:ph type="body" sz="quarter" idx="24"/>
          </p:nvPr>
        </p:nvSpPr>
        <p:spPr>
          <a:xfrm>
            <a:off x="6947254" y="3778093"/>
            <a:ext cx="1979613" cy="22018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2" y="1245631"/>
            <a:ext cx="8627651" cy="443629"/>
          </a:xfrm>
          <a:prstGeom prst="rect">
            <a:avLst/>
          </a:prstGeom>
        </p:spPr>
        <p:txBody>
          <a:bodyPr wrap="square" lIns="0">
            <a:noAutofit/>
          </a:bodyPr>
          <a:lstStyle>
            <a:lvl1pPr marL="0" indent="0">
              <a:buNone/>
              <a:defRPr sz="1350" b="0" i="0">
                <a:solidFill>
                  <a:schemeClr val="accent5"/>
                </a:solidFill>
                <a:latin typeface="Montserrat SemiBold" pitchFamily="2" charset="77"/>
              </a:defRPr>
            </a:lvl1pPr>
            <a:lvl2pPr marL="0" indent="0">
              <a:buNone/>
              <a:defRPr/>
            </a:lvl2pPr>
          </a:lstStyle>
          <a:p>
            <a:pPr lvl="0"/>
            <a:r>
              <a:rPr lang="en-US"/>
              <a:t>Subtitle goes here</a:t>
            </a:r>
          </a:p>
        </p:txBody>
      </p:sp>
      <p:sp>
        <p:nvSpPr>
          <p:cNvPr id="31" name="Title Placeholder 1"/>
          <p:cNvSpPr>
            <a:spLocks noGrp="1"/>
          </p:cNvSpPr>
          <p:nvPr>
            <p:ph type="title"/>
          </p:nvPr>
        </p:nvSpPr>
        <p:spPr>
          <a:xfrm>
            <a:off x="292101"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14"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8"/>
            <a:ext cx="305754" cy="365125"/>
          </a:xfrm>
          <a:prstGeom prst="rect">
            <a:avLst/>
          </a:prstGeom>
        </p:spPr>
        <p:txBody>
          <a:bodyPr vert="horz" lIns="0" tIns="0" rIns="0" bIns="0" rtlCol="0" anchor="b" anchorCtr="0"/>
          <a:lstStyle>
            <a:lvl1pPr algn="l">
              <a:defRPr sz="600" b="0" i="0">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5C77D89F-AD80-E940-A173-D053B3E2C118}"/>
              </a:ext>
            </a:extLst>
          </p:cNvPr>
          <p:cNvSpPr txBox="1"/>
          <p:nvPr userDrawn="1"/>
        </p:nvSpPr>
        <p:spPr>
          <a:xfrm>
            <a:off x="810491" y="363682"/>
            <a:ext cx="0" cy="0"/>
          </a:xfrm>
          <a:prstGeom prst="rect">
            <a:avLst/>
          </a:prstGeom>
          <a:noFill/>
        </p:spPr>
        <p:txBody>
          <a:bodyPr wrap="none" lIns="0" tIns="0" rIns="0" bIns="0" rtlCol="0">
            <a:noAutofit/>
          </a:bodyPr>
          <a:lstStyle/>
          <a:p>
            <a:pPr algn="l"/>
            <a:endParaRPr lang="en-US" sz="1050"/>
          </a:p>
        </p:txBody>
      </p:sp>
    </p:spTree>
    <p:extLst>
      <p:ext uri="{BB962C8B-B14F-4D97-AF65-F5344CB8AC3E}">
        <p14:creationId xmlns:p14="http://schemas.microsoft.com/office/powerpoint/2010/main" val="54792991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1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44A118DA-14BF-3F46-AE25-94283E48DF28}"/>
              </a:ext>
            </a:extLst>
          </p:cNvPr>
          <p:cNvSpPr>
            <a:spLocks noGrp="1"/>
          </p:cNvSpPr>
          <p:nvPr>
            <p:ph type="pic" sz="quarter" idx="10"/>
          </p:nvPr>
        </p:nvSpPr>
        <p:spPr>
          <a:xfrm>
            <a:off x="570459" y="1627132"/>
            <a:ext cx="2165572" cy="2619892"/>
          </a:xfrm>
          <a:prstGeom prst="rect">
            <a:avLst/>
          </a:prstGeom>
          <a:solidFill>
            <a:schemeClr val="bg1">
              <a:lumMod val="95000"/>
            </a:schemeClr>
          </a:solidFill>
          <a:ln>
            <a:noFill/>
          </a:ln>
        </p:spPr>
        <p:txBody>
          <a:bodyPr wrap="square" anchor="ctr">
            <a:noAutofit/>
          </a:bodyPr>
          <a:lstStyle>
            <a:lvl1pPr marL="0" indent="0" algn="ctr">
              <a:buNone/>
              <a:defRPr sz="675"/>
            </a:lvl1pPr>
          </a:lstStyle>
          <a:p>
            <a:endParaRPr lang="en-US"/>
          </a:p>
        </p:txBody>
      </p:sp>
      <p:sp>
        <p:nvSpPr>
          <p:cNvPr id="5" name="Picture Placeholder 3">
            <a:extLst>
              <a:ext uri="{FF2B5EF4-FFF2-40B4-BE49-F238E27FC236}">
                <a16:creationId xmlns:a16="http://schemas.microsoft.com/office/drawing/2014/main" id="{18CEB640-8738-844F-9CEA-F54115D4B480}"/>
              </a:ext>
            </a:extLst>
          </p:cNvPr>
          <p:cNvSpPr>
            <a:spLocks noGrp="1"/>
          </p:cNvSpPr>
          <p:nvPr>
            <p:ph type="pic" sz="quarter" idx="12"/>
          </p:nvPr>
        </p:nvSpPr>
        <p:spPr>
          <a:xfrm>
            <a:off x="3489215" y="1627132"/>
            <a:ext cx="2165572" cy="2619892"/>
          </a:xfrm>
          <a:prstGeom prst="rect">
            <a:avLst/>
          </a:prstGeom>
          <a:solidFill>
            <a:schemeClr val="bg1">
              <a:lumMod val="95000"/>
            </a:schemeClr>
          </a:solidFill>
          <a:ln>
            <a:noFill/>
          </a:ln>
        </p:spPr>
        <p:txBody>
          <a:bodyPr wrap="square" anchor="ctr">
            <a:noAutofit/>
          </a:bodyPr>
          <a:lstStyle>
            <a:lvl1pPr marL="0" indent="0" algn="ctr">
              <a:buNone/>
              <a:defRPr sz="675"/>
            </a:lvl1pPr>
          </a:lstStyle>
          <a:p>
            <a:endParaRPr lang="en-US"/>
          </a:p>
        </p:txBody>
      </p:sp>
      <p:sp>
        <p:nvSpPr>
          <p:cNvPr id="7" name="Picture Placeholder 3">
            <a:extLst>
              <a:ext uri="{FF2B5EF4-FFF2-40B4-BE49-F238E27FC236}">
                <a16:creationId xmlns:a16="http://schemas.microsoft.com/office/drawing/2014/main" id="{92D9E551-898F-B547-9190-AAE05BA6D628}"/>
              </a:ext>
            </a:extLst>
          </p:cNvPr>
          <p:cNvSpPr>
            <a:spLocks noGrp="1"/>
          </p:cNvSpPr>
          <p:nvPr>
            <p:ph type="pic" sz="quarter" idx="14"/>
          </p:nvPr>
        </p:nvSpPr>
        <p:spPr>
          <a:xfrm>
            <a:off x="6407970" y="1627132"/>
            <a:ext cx="2165572" cy="2619892"/>
          </a:xfrm>
          <a:prstGeom prst="rect">
            <a:avLst/>
          </a:prstGeom>
          <a:solidFill>
            <a:schemeClr val="bg1">
              <a:lumMod val="95000"/>
            </a:schemeClr>
          </a:solidFill>
          <a:ln>
            <a:noFill/>
          </a:ln>
        </p:spPr>
        <p:txBody>
          <a:bodyPr wrap="square" anchor="ctr">
            <a:noAutofit/>
          </a:bodyPr>
          <a:lstStyle>
            <a:lvl1pPr marL="0" indent="0" algn="ctr">
              <a:buNone/>
              <a:defRPr sz="675"/>
            </a:lvl1pPr>
          </a:lstStyle>
          <a:p>
            <a:endParaRPr lang="en-US"/>
          </a:p>
        </p:txBody>
      </p:sp>
    </p:spTree>
    <p:extLst>
      <p:ext uri="{BB962C8B-B14F-4D97-AF65-F5344CB8AC3E}">
        <p14:creationId xmlns:p14="http://schemas.microsoft.com/office/powerpoint/2010/main" val="2930149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Students laughing together&#10;">
            <a:extLst>
              <a:ext uri="{FF2B5EF4-FFF2-40B4-BE49-F238E27FC236}">
                <a16:creationId xmlns:a16="http://schemas.microsoft.com/office/drawing/2014/main" id="{003C764F-E1E8-4742-B073-1F328976771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081424" y="1019624"/>
            <a:ext cx="5062575" cy="4991482"/>
          </a:xfrm>
          <a:prstGeom prst="rect">
            <a:avLst/>
          </a:prstGeom>
        </p:spPr>
      </p:pic>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273748" y="4048755"/>
            <a:ext cx="3477026" cy="1242336"/>
          </a:xfrm>
          <a:prstGeom prst="rect">
            <a:avLst/>
          </a:prstGeom>
        </p:spPr>
        <p:txBody>
          <a:bodyPr wrap="square" lIns="0">
            <a:noAutofit/>
          </a:bodyPr>
          <a:lstStyle>
            <a:lvl1pPr marL="0" indent="0">
              <a:buNone/>
              <a:defRPr sz="180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273750" y="2823581"/>
            <a:ext cx="3477025" cy="1107996"/>
          </a:xfrm>
        </p:spPr>
        <p:txBody>
          <a:bodyPr anchor="b">
            <a:noAutofit/>
          </a:bodyPr>
          <a:lstStyle>
            <a:lvl1pPr>
              <a:lnSpc>
                <a:spcPct val="90000"/>
              </a:lnSpc>
              <a:defRPr sz="300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69" y="365498"/>
            <a:ext cx="1853071" cy="138499"/>
          </a:xfrm>
          <a:prstGeom prst="rect">
            <a:avLst/>
          </a:prstGeom>
          <a:noFill/>
        </p:spPr>
        <p:txBody>
          <a:bodyPr wrap="none" lIns="0" tIns="0" rIns="0" bIns="0" rtlCol="0">
            <a:spAutoFit/>
          </a:bodyPr>
          <a:lstStyle/>
          <a:p>
            <a:r>
              <a:rPr lang="en-AU" sz="900" b="1" i="0">
                <a:solidFill>
                  <a:schemeClr val="bg1"/>
                </a:solidFill>
                <a:latin typeface="Montserrat SemiBold" pitchFamily="2" charset="77"/>
              </a:rPr>
              <a:t>NSW Department of Education</a:t>
            </a:r>
          </a:p>
        </p:txBody>
      </p:sp>
      <p:pic>
        <p:nvPicPr>
          <p:cNvPr id="10" name="Picture 9" descr="NSW Government Logo" title="NSW Government Logo"/>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3748" y="5912575"/>
            <a:ext cx="665883" cy="720000"/>
          </a:xfrm>
          <a:prstGeom prst="rect">
            <a:avLst/>
          </a:prstGeom>
        </p:spPr>
      </p:pic>
      <p:sp>
        <p:nvSpPr>
          <p:cNvPr id="4" name="TextBox 3">
            <a:extLst>
              <a:ext uri="{FF2B5EF4-FFF2-40B4-BE49-F238E27FC236}">
                <a16:creationId xmlns:a16="http://schemas.microsoft.com/office/drawing/2014/main" id="{59B9EF07-244D-5B40-AF47-F375070E50B3}"/>
              </a:ext>
            </a:extLst>
          </p:cNvPr>
          <p:cNvSpPr txBox="1"/>
          <p:nvPr userDrawn="1"/>
        </p:nvSpPr>
        <p:spPr>
          <a:xfrm>
            <a:off x="2899719" y="897924"/>
            <a:ext cx="0" cy="0"/>
          </a:xfrm>
          <a:prstGeom prst="rect">
            <a:avLst/>
          </a:prstGeom>
          <a:noFill/>
        </p:spPr>
        <p:txBody>
          <a:bodyPr wrap="none" lIns="0" tIns="0" rIns="0" bIns="0" rtlCol="0">
            <a:noAutofit/>
          </a:bodyPr>
          <a:lstStyle/>
          <a:p>
            <a:pPr algn="l"/>
            <a:endParaRPr lang="en-US" sz="1400"/>
          </a:p>
        </p:txBody>
      </p:sp>
    </p:spTree>
    <p:extLst>
      <p:ext uri="{BB962C8B-B14F-4D97-AF65-F5344CB8AC3E}">
        <p14:creationId xmlns:p14="http://schemas.microsoft.com/office/powerpoint/2010/main" val="3586078781"/>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 person looking towards the camera&#10;&#10;Description automatically generated">
            <a:extLst>
              <a:ext uri="{FF2B5EF4-FFF2-40B4-BE49-F238E27FC236}">
                <a16:creationId xmlns:a16="http://schemas.microsoft.com/office/drawing/2014/main" id="{D4008A49-619C-5548-84EE-F00AC7D6ECB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79064" y="1135738"/>
            <a:ext cx="5159316" cy="5086864"/>
          </a:xfrm>
          <a:prstGeom prst="rect">
            <a:avLst/>
          </a:prstGeom>
        </p:spPr>
      </p:pic>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292100" y="4048755"/>
            <a:ext cx="3477026" cy="1579688"/>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292102" y="2823581"/>
            <a:ext cx="3477025" cy="1107996"/>
          </a:xfrm>
        </p:spPr>
        <p:txBody>
          <a:bodyPr anchor="b">
            <a:noAutofit/>
          </a:bodyPr>
          <a:lstStyle>
            <a:lvl1pPr>
              <a:lnSpc>
                <a:spcPct val="90000"/>
              </a:lnSpc>
              <a:defRPr sz="3000">
                <a:solidFill>
                  <a:schemeClr val="tx2"/>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69" y="365498"/>
            <a:ext cx="1853071" cy="138499"/>
          </a:xfrm>
          <a:prstGeom prst="rect">
            <a:avLst/>
          </a:prstGeom>
          <a:noFill/>
        </p:spPr>
        <p:txBody>
          <a:bodyPr wrap="none" lIns="0" tIns="0" rIns="0" bIns="0" rtlCol="0">
            <a:spAutoFit/>
          </a:bodyPr>
          <a:lstStyle/>
          <a:p>
            <a:r>
              <a:rPr lang="en-AU" sz="900" b="1" i="0">
                <a:solidFill>
                  <a:schemeClr val="tx2"/>
                </a:solidFill>
                <a:latin typeface="Montserrat SemiBold" pitchFamily="2" charset="77"/>
              </a:rPr>
              <a:t>NSW Department of Education</a:t>
            </a:r>
          </a:p>
        </p:txBody>
      </p:sp>
      <p:pic>
        <p:nvPicPr>
          <p:cNvPr id="11" name="Picture 10" descr="NSW Government Logo" title="NSW Government Logo"/>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52796" y="5953395"/>
            <a:ext cx="659277" cy="720000"/>
          </a:xfrm>
          <a:prstGeom prst="rect">
            <a:avLst/>
          </a:prstGeom>
        </p:spPr>
      </p:pic>
    </p:spTree>
    <p:extLst>
      <p:ext uri="{BB962C8B-B14F-4D97-AF65-F5344CB8AC3E}">
        <p14:creationId xmlns:p14="http://schemas.microsoft.com/office/powerpoint/2010/main" val="3274606887"/>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292098" y="4048760"/>
            <a:ext cx="3477026" cy="1766983"/>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292100" y="2823581"/>
            <a:ext cx="3477025" cy="1107996"/>
          </a:xfrm>
        </p:spPr>
        <p:txBody>
          <a:bodyPr anchor="b">
            <a:noAutofit/>
          </a:bodyPr>
          <a:lstStyle>
            <a:lvl1pPr>
              <a:lnSpc>
                <a:spcPct val="90000"/>
              </a:lnSpc>
              <a:defRPr sz="3000">
                <a:solidFill>
                  <a:schemeClr val="tx2"/>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306969" y="365498"/>
            <a:ext cx="1853071" cy="138499"/>
          </a:xfrm>
          <a:prstGeom prst="rect">
            <a:avLst/>
          </a:prstGeom>
          <a:noFill/>
        </p:spPr>
        <p:txBody>
          <a:bodyPr wrap="none" lIns="0" tIns="0" rIns="0" bIns="0" rtlCol="0">
            <a:spAutoFit/>
          </a:bodyPr>
          <a:lstStyle/>
          <a:p>
            <a:r>
              <a:rPr lang="en-AU" sz="900" b="1" i="0">
                <a:solidFill>
                  <a:schemeClr val="tx2"/>
                </a:solidFill>
                <a:latin typeface="Montserrat SemiBold" pitchFamily="2" charset="77"/>
              </a:rPr>
              <a:t>NSW Department of Education</a:t>
            </a:r>
          </a:p>
        </p:txBody>
      </p:sp>
      <p:pic>
        <p:nvPicPr>
          <p:cNvPr id="11" name="Picture 10" descr="NSW Government Logo" title="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60454" y="5961559"/>
            <a:ext cx="659277" cy="720000"/>
          </a:xfrm>
          <a:prstGeom prst="rect">
            <a:avLst/>
          </a:prstGeom>
        </p:spPr>
      </p:pic>
      <p:sp>
        <p:nvSpPr>
          <p:cNvPr id="3" name="TextBox 2">
            <a:extLst>
              <a:ext uri="{FF2B5EF4-FFF2-40B4-BE49-F238E27FC236}">
                <a16:creationId xmlns:a16="http://schemas.microsoft.com/office/drawing/2014/main" id="{FDBF3B5F-3C25-2D4B-8B90-C5502DE028CB}"/>
              </a:ext>
            </a:extLst>
          </p:cNvPr>
          <p:cNvSpPr txBox="1"/>
          <p:nvPr userDrawn="1"/>
        </p:nvSpPr>
        <p:spPr>
          <a:xfrm>
            <a:off x="8188036" y="1194955"/>
            <a:ext cx="0" cy="0"/>
          </a:xfrm>
          <a:prstGeom prst="rect">
            <a:avLst/>
          </a:prstGeom>
          <a:noFill/>
        </p:spPr>
        <p:txBody>
          <a:bodyPr wrap="none" lIns="0" tIns="0" rIns="0" bIns="0" rtlCol="0">
            <a:noAutofit/>
          </a:bodyPr>
          <a:lstStyle/>
          <a:p>
            <a:pPr algn="l"/>
            <a:endParaRPr lang="en-US" sz="1400"/>
          </a:p>
        </p:txBody>
      </p:sp>
    </p:spTree>
    <p:extLst>
      <p:ext uri="{BB962C8B-B14F-4D97-AF65-F5344CB8AC3E}">
        <p14:creationId xmlns:p14="http://schemas.microsoft.com/office/powerpoint/2010/main" val="1463695892"/>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6"/>
            <a:ext cx="305754" cy="365125"/>
          </a:xfrm>
          <a:prstGeom prst="rect">
            <a:avLst/>
          </a:prstGeom>
        </p:spPr>
        <p:txBody>
          <a:bodyPr vert="horz" lIns="0" tIns="0" rIns="0" bIns="0" rtlCol="0" anchor="b" anchorCtr="0"/>
          <a:lstStyle>
            <a:lvl1pPr algn="l">
              <a:defRPr sz="800" b="0" i="0">
                <a:solidFill>
                  <a:schemeClr val="tx2"/>
                </a:solidFill>
                <a:latin typeface="+mn-lt"/>
              </a:defRPr>
            </a:lvl1pPr>
          </a:lstStyle>
          <a:p>
            <a:endParaRPr lang="en-US"/>
          </a:p>
        </p:txBody>
      </p:sp>
      <p:sp>
        <p:nvSpPr>
          <p:cNvPr id="4" name="Text Placeholder 3"/>
          <p:cNvSpPr>
            <a:spLocks noGrp="1"/>
          </p:cNvSpPr>
          <p:nvPr>
            <p:ph type="body" sz="quarter" idx="19"/>
          </p:nvPr>
        </p:nvSpPr>
        <p:spPr>
          <a:xfrm>
            <a:off x="297272" y="1844675"/>
            <a:ext cx="8659415" cy="417870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27" name="Text Placeholder 2078">
            <a:extLst>
              <a:ext uri="{FF2B5EF4-FFF2-40B4-BE49-F238E27FC236}">
                <a16:creationId xmlns:a16="http://schemas.microsoft.com/office/drawing/2014/main" id="{6CEE090E-CCFD-D641-BC04-E336F151C887}"/>
              </a:ext>
            </a:extLst>
          </p:cNvPr>
          <p:cNvSpPr>
            <a:spLocks noGrp="1"/>
          </p:cNvSpPr>
          <p:nvPr>
            <p:ph type="body" sz="quarter" idx="15" hasCustomPrompt="1"/>
          </p:nvPr>
        </p:nvSpPr>
        <p:spPr>
          <a:xfrm>
            <a:off x="292150" y="1210247"/>
            <a:ext cx="6574221" cy="467634"/>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15" name="Title 1">
            <a:extLst>
              <a:ext uri="{FF2B5EF4-FFF2-40B4-BE49-F238E27FC236}">
                <a16:creationId xmlns:a16="http://schemas.microsoft.com/office/drawing/2014/main" id="{230DD9A7-09FE-4E1B-A672-CED018A0372F}"/>
              </a:ext>
            </a:extLst>
          </p:cNvPr>
          <p:cNvSpPr>
            <a:spLocks noGrp="1"/>
          </p:cNvSpPr>
          <p:nvPr>
            <p:ph type="title" hasCustomPrompt="1"/>
          </p:nvPr>
        </p:nvSpPr>
        <p:spPr>
          <a:xfrm>
            <a:off x="292150" y="703448"/>
            <a:ext cx="6727361" cy="498470"/>
          </a:xfrm>
        </p:spPr>
        <p:txBody>
          <a:bodyPr>
            <a:noAutofit/>
          </a:bodyPr>
          <a:lstStyle>
            <a:lvl1pPr>
              <a:defRPr>
                <a:solidFill>
                  <a:schemeClr val="tx2"/>
                </a:solidFill>
              </a:defRPr>
            </a:lvl1pPr>
          </a:lstStyle>
          <a:p>
            <a:r>
              <a:rPr lang="en-US"/>
              <a:t>Agenda slide</a:t>
            </a:r>
            <a:endParaRPr lang="en-AU"/>
          </a:p>
        </p:txBody>
      </p:sp>
      <p:cxnSp>
        <p:nvCxnSpPr>
          <p:cNvPr id="21" name="Straight Connector 20">
            <a:extLst>
              <a:ext uri="{FF2B5EF4-FFF2-40B4-BE49-F238E27FC236}">
                <a16:creationId xmlns:a16="http://schemas.microsoft.com/office/drawing/2014/main" id="{BC913C52-0751-BC4D-A716-67C521725C4C}"/>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385F729-539D-F848-B304-C18B0623A65C}"/>
              </a:ext>
            </a:extLst>
          </p:cNvPr>
          <p:cNvSpPr txBox="1"/>
          <p:nvPr userDrawn="1"/>
        </p:nvSpPr>
        <p:spPr>
          <a:xfrm>
            <a:off x="306969" y="365498"/>
            <a:ext cx="1853071" cy="138499"/>
          </a:xfrm>
          <a:prstGeom prst="rect">
            <a:avLst/>
          </a:prstGeom>
          <a:noFill/>
        </p:spPr>
        <p:txBody>
          <a:bodyPr wrap="none" lIns="0" tIns="0" rIns="0" bIns="0" rtlCol="0">
            <a:spAutoFit/>
          </a:bodyPr>
          <a:lstStyle/>
          <a:p>
            <a:r>
              <a:rPr lang="en-AU" sz="900" b="1" i="0">
                <a:solidFill>
                  <a:schemeClr val="tx2"/>
                </a:solidFill>
                <a:latin typeface="Montserrat SemiBold" pitchFamily="2" charset="77"/>
              </a:rPr>
              <a:t>NSW Department of Education</a:t>
            </a:r>
          </a:p>
        </p:txBody>
      </p:sp>
      <p:pic>
        <p:nvPicPr>
          <p:cNvPr id="11" name="Picture 10" descr="NSW Government Logo" title="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85743" y="6121867"/>
            <a:ext cx="494457" cy="540000"/>
          </a:xfrm>
          <a:prstGeom prst="rect">
            <a:avLst/>
          </a:prstGeom>
        </p:spPr>
      </p:pic>
    </p:spTree>
    <p:extLst>
      <p:ext uri="{BB962C8B-B14F-4D97-AF65-F5344CB8AC3E}">
        <p14:creationId xmlns:p14="http://schemas.microsoft.com/office/powerpoint/2010/main" val="2065677068"/>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lumn Content A">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a:xfrm>
            <a:off x="294660" y="1844675"/>
            <a:ext cx="8628224" cy="423652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5"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1" y="1245629"/>
            <a:ext cx="8627651" cy="419659"/>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9" name="Title Placeholder 1"/>
          <p:cNvSpPr>
            <a:spLocks noGrp="1"/>
          </p:cNvSpPr>
          <p:nvPr>
            <p:ph type="title"/>
          </p:nvPr>
        </p:nvSpPr>
        <p:spPr>
          <a:xfrm>
            <a:off x="292100"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6"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6"/>
            <a:ext cx="305754" cy="365125"/>
          </a:xfrm>
          <a:prstGeom prst="rect">
            <a:avLst/>
          </a:prstGeom>
        </p:spPr>
        <p:txBody>
          <a:bodyPr vert="horz" lIns="0" tIns="0" rIns="0" bIns="0" rtlCol="0" anchor="b" anchorCtr="0"/>
          <a:lstStyle>
            <a:lvl1pPr algn="l">
              <a:defRPr sz="800" b="0" i="0">
                <a:solidFill>
                  <a:schemeClr val="tx2"/>
                </a:solidFill>
                <a:latin typeface="+mn-lt"/>
              </a:defRPr>
            </a:lvl1pPr>
          </a:lstStyle>
          <a:p>
            <a:endParaRPr lang="en-US"/>
          </a:p>
        </p:txBody>
      </p:sp>
    </p:spTree>
    <p:extLst>
      <p:ext uri="{BB962C8B-B14F-4D97-AF65-F5344CB8AC3E}">
        <p14:creationId xmlns:p14="http://schemas.microsoft.com/office/powerpoint/2010/main" val="376600193"/>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lumn Content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292100" y="1844675"/>
            <a:ext cx="8572723" cy="42454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294661" y="1245629"/>
            <a:ext cx="8627651" cy="419659"/>
          </a:xfrm>
          <a:prstGeom prst="rect">
            <a:avLst/>
          </a:prstGeom>
        </p:spPr>
        <p:txBody>
          <a:bodyPr wrap="square" lIns="0">
            <a:noAutofit/>
          </a:bodyPr>
          <a:lstStyle>
            <a:lvl1pPr marL="0" indent="0">
              <a:buNone/>
              <a:defRPr sz="1800" b="0" i="0">
                <a:solidFill>
                  <a:schemeClr val="accent5"/>
                </a:solidFill>
                <a:latin typeface="Montserrat SemiBold" pitchFamily="2" charset="77"/>
              </a:defRPr>
            </a:lvl1pPr>
            <a:lvl2pPr marL="0" indent="0">
              <a:buNone/>
              <a:defRPr/>
            </a:lvl2pPr>
          </a:lstStyle>
          <a:p>
            <a:pPr lvl="0"/>
            <a:r>
              <a:rPr lang="en-US"/>
              <a:t>Subtitle goes here</a:t>
            </a:r>
          </a:p>
        </p:txBody>
      </p:sp>
      <p:sp>
        <p:nvSpPr>
          <p:cNvPr id="11" name="Title Placeholder 1"/>
          <p:cNvSpPr>
            <a:spLocks noGrp="1"/>
          </p:cNvSpPr>
          <p:nvPr>
            <p:ph type="title"/>
          </p:nvPr>
        </p:nvSpPr>
        <p:spPr>
          <a:xfrm>
            <a:off x="292100" y="747159"/>
            <a:ext cx="8623051" cy="498470"/>
          </a:xfrm>
          <a:prstGeom prst="rect">
            <a:avLst/>
          </a:prstGeom>
        </p:spPr>
        <p:txBody>
          <a:bodyPr vert="horz" wrap="square" lIns="0" tIns="0" rIns="0" bIns="0" rtlCol="0" anchor="ctr">
            <a:noAutofit/>
          </a:bodyPr>
          <a:lstStyle/>
          <a:p>
            <a:r>
              <a:rPr lang="en-US"/>
              <a:t>Click to edit Master title style</a:t>
            </a:r>
          </a:p>
        </p:txBody>
      </p:sp>
      <p:sp>
        <p:nvSpPr>
          <p:cNvPr id="7"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292150" y="6258126"/>
            <a:ext cx="305754" cy="365125"/>
          </a:xfrm>
          <a:prstGeom prst="rect">
            <a:avLst/>
          </a:prstGeom>
        </p:spPr>
        <p:txBody>
          <a:bodyPr vert="horz" lIns="0" tIns="0" rIns="0" bIns="0" rtlCol="0" anchor="b" anchorCtr="0"/>
          <a:lstStyle>
            <a:lvl1pPr algn="l">
              <a:defRPr sz="800" b="0" i="0">
                <a:solidFill>
                  <a:schemeClr val="tx2"/>
                </a:solidFill>
                <a:latin typeface="+mn-lt"/>
              </a:defRPr>
            </a:lvl1pPr>
          </a:lstStyle>
          <a:p>
            <a:endParaRPr lang="en-US"/>
          </a:p>
        </p:txBody>
      </p:sp>
    </p:spTree>
    <p:extLst>
      <p:ext uri="{BB962C8B-B14F-4D97-AF65-F5344CB8AC3E}">
        <p14:creationId xmlns:p14="http://schemas.microsoft.com/office/powerpoint/2010/main" val="835003721"/>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tags" Target="../tags/tag4.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image" Target="../media/image2.png"/><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vmlDrawing" Target="../drawings/vmlDrawing2.v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image" Target="../media/image1.emf"/><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oleObject" Target="../embeddings/oleObject2.bin"/><Relationship Id="rId10" Type="http://schemas.openxmlformats.org/officeDocument/2006/relationships/slideLayout" Target="../slideLayouts/slideLayout27.xml"/><Relationship Id="rId19"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22" imgW="501" imgH="502" progId="TCLayout.ActiveDocument.1">
                  <p:embed/>
                </p:oleObj>
              </mc:Choice>
              <mc:Fallback>
                <p:oleObj name="think-cell Slide" r:id="rId22" imgW="501" imgH="502" progId="TCLayout.ActiveDocument.1">
                  <p:embed/>
                  <p:pic>
                    <p:nvPicPr>
                      <p:cNvPr id="3" name="Object 2"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1"/>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latin typeface="Montserrat SemiBold" panose="00000700000000000000" pitchFamily="2" charset="0"/>
              <a:ea typeface="+mj-ea"/>
              <a:cs typeface="+mj-cs"/>
              <a:sym typeface="Montserrat SemiBold" panose="00000700000000000000" pitchFamily="2" charset="0"/>
            </a:endParaRPr>
          </a:p>
        </p:txBody>
      </p:sp>
      <p:sp>
        <p:nvSpPr>
          <p:cNvPr id="5" name="Slide Number Placeholder 4"/>
          <p:cNvSpPr>
            <a:spLocks noGrp="1"/>
          </p:cNvSpPr>
          <p:nvPr>
            <p:ph type="sldNum" sz="quarter" idx="4"/>
          </p:nvPr>
        </p:nvSpPr>
        <p:spPr>
          <a:xfrm>
            <a:off x="292100" y="6391867"/>
            <a:ext cx="405000" cy="365125"/>
          </a:xfrm>
          <a:prstGeom prst="rect">
            <a:avLst/>
          </a:prstGeom>
        </p:spPr>
        <p:txBody>
          <a:bodyPr vert="horz" lIns="0" tIns="45720" rIns="91440" bIns="45720" rtlCol="0" anchor="ctr"/>
          <a:lstStyle>
            <a:lvl1pPr algn="l">
              <a:defRPr sz="800">
                <a:solidFill>
                  <a:schemeClr val="tx2"/>
                </a:solidFill>
              </a:defRPr>
            </a:lvl1pPr>
          </a:lstStyle>
          <a:p>
            <a:fld id="{70A22D65-9FDC-489F-B10E-6D0B5D9F1F89}" type="slidenum">
              <a:rPr lang="en-AU" smtClean="0"/>
              <a:pPr/>
              <a:t>‹#›</a:t>
            </a:fld>
            <a:endParaRPr lang="en-AU"/>
          </a:p>
        </p:txBody>
      </p:sp>
      <p:sp>
        <p:nvSpPr>
          <p:cNvPr id="4" name="Text Placeholder 3"/>
          <p:cNvSpPr>
            <a:spLocks noGrp="1"/>
          </p:cNvSpPr>
          <p:nvPr>
            <p:ph type="body" idx="1"/>
          </p:nvPr>
        </p:nvSpPr>
        <p:spPr>
          <a:xfrm>
            <a:off x="292100" y="1844675"/>
            <a:ext cx="8278179" cy="42771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itle Placeholder 1"/>
          <p:cNvSpPr>
            <a:spLocks noGrp="1"/>
          </p:cNvSpPr>
          <p:nvPr>
            <p:ph type="title"/>
          </p:nvPr>
        </p:nvSpPr>
        <p:spPr>
          <a:xfrm>
            <a:off x="292100" y="747159"/>
            <a:ext cx="8623051" cy="498470"/>
          </a:xfrm>
          <a:prstGeom prst="rect">
            <a:avLst/>
          </a:prstGeom>
        </p:spPr>
        <p:txBody>
          <a:bodyPr vert="horz" wrap="square" lIns="0" tIns="0" rIns="0" bIns="0" rtlCol="0" anchor="ctr">
            <a:noAutofit/>
          </a:bodyPr>
          <a:lstStyle/>
          <a:p>
            <a:r>
              <a:rPr lang="en-US"/>
              <a:t>Click to edit Master title style</a:t>
            </a:r>
          </a:p>
        </p:txBody>
      </p:sp>
      <p:pic>
        <p:nvPicPr>
          <p:cNvPr id="6" name="Picture 5" descr="NSW Government Logo" title="NSW Government Logo"/>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8385743" y="6121867"/>
            <a:ext cx="494457" cy="540000"/>
          </a:xfrm>
          <a:prstGeom prst="rect">
            <a:avLst/>
          </a:prstGeom>
        </p:spPr>
      </p:pic>
      <p:cxnSp>
        <p:nvCxnSpPr>
          <p:cNvPr id="9" name="Straight Connector 8">
            <a:extLst>
              <a:ext uri="{FF2B5EF4-FFF2-40B4-BE49-F238E27FC236}">
                <a16:creationId xmlns:a16="http://schemas.microsoft.com/office/drawing/2014/main" id="{AEFECAC3-BF7B-B746-B2D0-F554BFDC2964}"/>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74AE827-7224-224D-825A-55775AA3B745}"/>
              </a:ext>
            </a:extLst>
          </p:cNvPr>
          <p:cNvSpPr txBox="1"/>
          <p:nvPr userDrawn="1"/>
        </p:nvSpPr>
        <p:spPr>
          <a:xfrm>
            <a:off x="306969" y="365498"/>
            <a:ext cx="1853071" cy="138499"/>
          </a:xfrm>
          <a:prstGeom prst="rect">
            <a:avLst/>
          </a:prstGeom>
          <a:noFill/>
        </p:spPr>
        <p:txBody>
          <a:bodyPr wrap="none" lIns="0" tIns="0" rIns="0" bIns="0" rtlCol="0">
            <a:spAutoFit/>
          </a:bodyPr>
          <a:lstStyle/>
          <a:p>
            <a:r>
              <a:rPr lang="en-AU" sz="900" b="1" i="0">
                <a:solidFill>
                  <a:schemeClr val="tx2"/>
                </a:solidFill>
                <a:latin typeface="Montserrat SemiBold" pitchFamily="2" charset="77"/>
              </a:rPr>
              <a:t>NSW Department of Education</a:t>
            </a:r>
          </a:p>
        </p:txBody>
      </p:sp>
    </p:spTree>
    <p:extLst>
      <p:ext uri="{BB962C8B-B14F-4D97-AF65-F5344CB8AC3E}">
        <p14:creationId xmlns:p14="http://schemas.microsoft.com/office/powerpoint/2010/main" val="227662005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866" r:id="rId17"/>
  </p:sldLayoutIdLst>
  <p:transition>
    <p:fade/>
  </p:transition>
  <p:hf hdr="0" dt="0"/>
  <p:txStyles>
    <p:titleStyle>
      <a:lvl1pPr algn="l" defTabSz="514337" rtl="0" eaLnBrk="1" latinLnBrk="0" hangingPunct="1">
        <a:lnSpc>
          <a:spcPct val="90000"/>
        </a:lnSpc>
        <a:spcBef>
          <a:spcPct val="0"/>
        </a:spcBef>
        <a:buNone/>
        <a:defRPr sz="2400" b="0" i="0" kern="1200">
          <a:solidFill>
            <a:schemeClr val="tx2"/>
          </a:solidFill>
          <a:latin typeface="Montserrat SemiBold" panose="00000700000000000000" pitchFamily="2" charset="0"/>
          <a:ea typeface="+mj-ea"/>
          <a:cs typeface="+mj-cs"/>
        </a:defRPr>
      </a:lvl1pPr>
    </p:titleStyle>
    <p:bodyStyle>
      <a:lvl1pPr marL="133347" indent="-133347" algn="l" defTabSz="514337" rtl="0" eaLnBrk="1" latinLnBrk="0" hangingPunct="1">
        <a:lnSpc>
          <a:spcPct val="150000"/>
        </a:lnSpc>
        <a:spcBef>
          <a:spcPts val="0"/>
        </a:spcBef>
        <a:spcAft>
          <a:spcPts val="450"/>
        </a:spcAft>
        <a:buFont typeface="Arial" panose="020B0604020202020204" pitchFamily="34" charset="0"/>
        <a:buChar char="•"/>
        <a:defRPr sz="1800" kern="1200">
          <a:solidFill>
            <a:schemeClr val="tx2"/>
          </a:solidFill>
          <a:latin typeface="Montserrat Medium" pitchFamily="2" charset="77"/>
          <a:ea typeface="+mn-ea"/>
          <a:cs typeface="+mn-cs"/>
        </a:defRPr>
      </a:lvl1pPr>
      <a:lvl2pPr marL="266693" indent="-133347" algn="l" defTabSz="514337" rtl="0" eaLnBrk="1" latinLnBrk="0" hangingPunct="1">
        <a:lnSpc>
          <a:spcPct val="150000"/>
        </a:lnSpc>
        <a:spcBef>
          <a:spcPts val="0"/>
        </a:spcBef>
        <a:spcAft>
          <a:spcPts val="450"/>
        </a:spcAft>
        <a:buClrTx/>
        <a:buFont typeface="Montserrat Medium" panose="00000600000000000000" pitchFamily="2" charset="0"/>
        <a:buChar char="−"/>
        <a:defRPr sz="1600" kern="1200">
          <a:solidFill>
            <a:schemeClr val="tx2"/>
          </a:solidFill>
          <a:latin typeface="Montserrat Medium" pitchFamily="2" charset="77"/>
          <a:ea typeface="+mn-ea"/>
          <a:cs typeface="+mn-cs"/>
        </a:defRPr>
      </a:lvl2pPr>
      <a:lvl3pPr marL="405994" indent="-133347" algn="l" defTabSz="514337" rtl="0" eaLnBrk="1" latinLnBrk="0" hangingPunct="1">
        <a:lnSpc>
          <a:spcPct val="150000"/>
        </a:lnSpc>
        <a:spcBef>
          <a:spcPts val="0"/>
        </a:spcBef>
        <a:spcAft>
          <a:spcPts val="450"/>
        </a:spcAft>
        <a:buClrTx/>
        <a:buFont typeface="Montserrat Medium" panose="00000600000000000000" pitchFamily="2" charset="0"/>
        <a:buChar char="»"/>
        <a:tabLst/>
        <a:defRPr sz="1600" kern="1200">
          <a:solidFill>
            <a:schemeClr val="tx2"/>
          </a:solidFill>
          <a:latin typeface="Montserrat Medium" pitchFamily="2" charset="77"/>
          <a:ea typeface="+mn-ea"/>
          <a:cs typeface="+mn-cs"/>
        </a:defRPr>
      </a:lvl3pPr>
      <a:lvl4pPr marL="539341" indent="-139301" algn="l" defTabSz="514337" rtl="0" eaLnBrk="1" latinLnBrk="0" hangingPunct="1">
        <a:lnSpc>
          <a:spcPct val="150000"/>
        </a:lnSpc>
        <a:spcBef>
          <a:spcPts val="0"/>
        </a:spcBef>
        <a:spcAft>
          <a:spcPts val="450"/>
        </a:spcAft>
        <a:buClrTx/>
        <a:buFont typeface="Courier New" panose="02070309020205020404" pitchFamily="49" charset="0"/>
        <a:buChar char="o"/>
        <a:defRPr sz="1400" b="0" i="0" kern="1200">
          <a:solidFill>
            <a:schemeClr val="tx2"/>
          </a:solidFill>
          <a:latin typeface="Montserrat Medium" panose="00000600000000000000" pitchFamily="2" charset="0"/>
          <a:ea typeface="+mn-ea"/>
          <a:cs typeface="+mn-cs"/>
        </a:defRPr>
      </a:lvl4pPr>
      <a:lvl5pPr marL="672687" indent="-133347" algn="l" defTabSz="514337" rtl="0" eaLnBrk="1" latinLnBrk="0" hangingPunct="1">
        <a:lnSpc>
          <a:spcPct val="150000"/>
        </a:lnSpc>
        <a:spcBef>
          <a:spcPts val="0"/>
        </a:spcBef>
        <a:spcAft>
          <a:spcPts val="450"/>
        </a:spcAft>
        <a:buFont typeface="Arial" panose="020B0604020202020204" pitchFamily="34" charset="0"/>
        <a:buChar char="•"/>
        <a:defRPr sz="1200" b="0" i="0" kern="1200">
          <a:solidFill>
            <a:schemeClr val="tx2"/>
          </a:solidFill>
          <a:latin typeface="+mn-lt"/>
          <a:ea typeface="+mn-ea"/>
          <a:cs typeface="+mn-cs"/>
        </a:defRPr>
      </a:lvl5pPr>
      <a:lvl6pPr marL="1414422" indent="-128584"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0" indent="-128584"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58" indent="-128584"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25" indent="-128584"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8"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3" algn="l" defTabSz="514337" rtl="0" eaLnBrk="1" latinLnBrk="0" hangingPunct="1">
        <a:defRPr sz="1013" kern="1200">
          <a:solidFill>
            <a:schemeClr val="tx1"/>
          </a:solidFill>
          <a:latin typeface="+mn-lt"/>
          <a:ea typeface="+mn-ea"/>
          <a:cs typeface="+mn-cs"/>
        </a:defRPr>
      </a:lvl4pPr>
      <a:lvl5pPr marL="1028672" algn="l" defTabSz="514337" rtl="0" eaLnBrk="1" latinLnBrk="0" hangingPunct="1">
        <a:defRPr sz="1013" kern="1200">
          <a:solidFill>
            <a:schemeClr val="tx1"/>
          </a:solidFill>
          <a:latin typeface="+mn-lt"/>
          <a:ea typeface="+mn-ea"/>
          <a:cs typeface="+mn-cs"/>
        </a:defRPr>
      </a:lvl5pPr>
      <a:lvl6pPr marL="1285839" algn="l" defTabSz="514337" rtl="0" eaLnBrk="1" latinLnBrk="0" hangingPunct="1">
        <a:defRPr sz="1013" kern="1200">
          <a:solidFill>
            <a:schemeClr val="tx1"/>
          </a:solidFill>
          <a:latin typeface="+mn-lt"/>
          <a:ea typeface="+mn-ea"/>
          <a:cs typeface="+mn-cs"/>
        </a:defRPr>
      </a:lvl6pPr>
      <a:lvl7pPr marL="1543007" algn="l" defTabSz="514337" rtl="0" eaLnBrk="1" latinLnBrk="0" hangingPunct="1">
        <a:defRPr sz="1013" kern="1200">
          <a:solidFill>
            <a:schemeClr val="tx1"/>
          </a:solidFill>
          <a:latin typeface="+mn-lt"/>
          <a:ea typeface="+mn-ea"/>
          <a:cs typeface="+mn-cs"/>
        </a:defRPr>
      </a:lvl7pPr>
      <a:lvl8pPr marL="1800174" algn="l" defTabSz="514337" rtl="0" eaLnBrk="1" latinLnBrk="0" hangingPunct="1">
        <a:defRPr sz="1013" kern="1200">
          <a:solidFill>
            <a:schemeClr val="tx1"/>
          </a:solidFill>
          <a:latin typeface="+mn-lt"/>
          <a:ea typeface="+mn-ea"/>
          <a:cs typeface="+mn-cs"/>
        </a:defRPr>
      </a:lvl8pPr>
      <a:lvl9pPr marL="2057342" algn="l" defTabSz="514337"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9" pos="184">
          <p15:clr>
            <a:srgbClr val="F26B43"/>
          </p15:clr>
        </p15:guide>
        <p15:guide id="20" pos="2880">
          <p15:clr>
            <a:srgbClr val="F26B43"/>
          </p15:clr>
        </p15:guide>
        <p15:guide id="21" pos="5576">
          <p15:clr>
            <a:srgbClr val="F26B43"/>
          </p15:clr>
        </p15:guide>
        <p15:guide id="22" orient="horz" pos="249">
          <p15:clr>
            <a:srgbClr val="F26B43"/>
          </p15:clr>
        </p15:guide>
        <p15:guide id="23" orient="horz" pos="4178">
          <p15:clr>
            <a:srgbClr val="F26B43"/>
          </p15:clr>
        </p15:guide>
        <p15:guide id="34" orient="horz" pos="527">
          <p15:clr>
            <a:srgbClr val="FBAE40"/>
          </p15:clr>
        </p15:guide>
        <p15:guide id="35" orient="horz" pos="867">
          <p15:clr>
            <a:srgbClr val="FBAE40"/>
          </p15:clr>
        </p15:guide>
        <p15:guide id="36" orient="horz" pos="1049">
          <p15:clr>
            <a:srgbClr val="FBAE40"/>
          </p15:clr>
        </p15:guide>
        <p15:guide id="37" pos="633">
          <p15:clr>
            <a:srgbClr val="FDE53C"/>
          </p15:clr>
        </p15:guide>
        <p15:guide id="38" pos="1082">
          <p15:clr>
            <a:srgbClr val="FDE53C"/>
          </p15:clr>
        </p15:guide>
        <p15:guide id="39" pos="1532">
          <p15:clr>
            <a:srgbClr val="FDE53C"/>
          </p15:clr>
        </p15:guide>
        <p15:guide id="40" pos="1981">
          <p15:clr>
            <a:srgbClr val="FDE53C"/>
          </p15:clr>
        </p15:guide>
        <p15:guide id="41" pos="2431">
          <p15:clr>
            <a:srgbClr val="FDE53C"/>
          </p15:clr>
        </p15:guide>
        <p15:guide id="42" pos="3329">
          <p15:clr>
            <a:srgbClr val="FDE53C"/>
          </p15:clr>
        </p15:guide>
        <p15:guide id="43" pos="3779">
          <p15:clr>
            <a:srgbClr val="FDE53C"/>
          </p15:clr>
        </p15:guide>
        <p15:guide id="44" pos="4228">
          <p15:clr>
            <a:srgbClr val="FDE53C"/>
          </p15:clr>
        </p15:guide>
        <p15:guide id="45" pos="4677">
          <p15:clr>
            <a:srgbClr val="FDE53C"/>
          </p15:clr>
        </p15:guide>
        <p15:guide id="46" pos="5126">
          <p15:clr>
            <a:srgbClr val="FDE53C"/>
          </p15:clr>
        </p15:guide>
        <p15:guide id="47" orient="horz" pos="1162">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23" imgW="501" imgH="502" progId="TCLayout.ActiveDocument.1">
                  <p:embed/>
                </p:oleObj>
              </mc:Choice>
              <mc:Fallback>
                <p:oleObj name="think-cell Slide" r:id="rId23" imgW="501" imgH="502" progId="TCLayout.ActiveDocument.1">
                  <p:embed/>
                  <p:pic>
                    <p:nvPicPr>
                      <p:cNvPr id="3" name="Object 2" hidden="1"/>
                      <p:cNvPicPr/>
                      <p:nvPr/>
                    </p:nvPicPr>
                    <p:blipFill>
                      <a:blip r:embed="rId24"/>
                      <a:stretch>
                        <a:fillRect/>
                      </a:stretch>
                    </p:blipFill>
                    <p:spPr>
                      <a:xfrm>
                        <a:off x="1589" y="1588"/>
                        <a:ext cx="1588" cy="1588"/>
                      </a:xfrm>
                      <a:prstGeom prst="rect">
                        <a:avLst/>
                      </a:prstGeom>
                    </p:spPr>
                  </p:pic>
                </p:oleObj>
              </mc:Fallback>
            </mc:AlternateContent>
          </a:graphicData>
        </a:graphic>
      </p:graphicFrame>
      <p:sp>
        <p:nvSpPr>
          <p:cNvPr id="2" name="Rectangle 1" hidden="1"/>
          <p:cNvSpPr/>
          <p:nvPr userDrawn="1">
            <p:custDataLst>
              <p:tags r:id="rId22"/>
            </p:custDataLst>
          </p:nvPr>
        </p:nvSpPr>
        <p:spPr>
          <a:xfrm>
            <a:off x="1"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a:latin typeface="Montserrat SemiBold" panose="00000700000000000000" pitchFamily="2" charset="0"/>
              <a:ea typeface="+mj-ea"/>
              <a:cs typeface="+mj-cs"/>
              <a:sym typeface="Montserrat SemiBold" panose="00000700000000000000" pitchFamily="2" charset="0"/>
            </a:endParaRPr>
          </a:p>
        </p:txBody>
      </p:sp>
      <p:sp>
        <p:nvSpPr>
          <p:cNvPr id="5" name="Slide Number Placeholder 4"/>
          <p:cNvSpPr>
            <a:spLocks noGrp="1"/>
          </p:cNvSpPr>
          <p:nvPr>
            <p:ph type="sldNum" sz="quarter" idx="4"/>
          </p:nvPr>
        </p:nvSpPr>
        <p:spPr>
          <a:xfrm>
            <a:off x="292100" y="6391869"/>
            <a:ext cx="405000" cy="365125"/>
          </a:xfrm>
          <a:prstGeom prst="rect">
            <a:avLst/>
          </a:prstGeom>
        </p:spPr>
        <p:txBody>
          <a:bodyPr vert="horz" lIns="0" tIns="45720" rIns="91440" bIns="45720" rtlCol="0" anchor="ctr"/>
          <a:lstStyle>
            <a:lvl1pPr algn="l">
              <a:defRPr sz="600">
                <a:solidFill>
                  <a:schemeClr val="tx2"/>
                </a:solidFill>
              </a:defRPr>
            </a:lvl1pPr>
          </a:lstStyle>
          <a:p>
            <a:fld id="{70A22D65-9FDC-489F-B10E-6D0B5D9F1F89}" type="slidenum">
              <a:rPr lang="en-AU" smtClean="0"/>
              <a:pPr/>
              <a:t>‹#›</a:t>
            </a:fld>
            <a:endParaRPr lang="en-AU"/>
          </a:p>
        </p:txBody>
      </p:sp>
      <p:sp>
        <p:nvSpPr>
          <p:cNvPr id="4" name="Text Placeholder 3"/>
          <p:cNvSpPr>
            <a:spLocks noGrp="1"/>
          </p:cNvSpPr>
          <p:nvPr>
            <p:ph type="body" idx="1"/>
          </p:nvPr>
        </p:nvSpPr>
        <p:spPr>
          <a:xfrm>
            <a:off x="292100" y="1844675"/>
            <a:ext cx="8278179" cy="42771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itle Placeholder 1"/>
          <p:cNvSpPr>
            <a:spLocks noGrp="1"/>
          </p:cNvSpPr>
          <p:nvPr>
            <p:ph type="title"/>
          </p:nvPr>
        </p:nvSpPr>
        <p:spPr>
          <a:xfrm>
            <a:off x="292101" y="747159"/>
            <a:ext cx="8623051" cy="498470"/>
          </a:xfrm>
          <a:prstGeom prst="rect">
            <a:avLst/>
          </a:prstGeom>
        </p:spPr>
        <p:txBody>
          <a:bodyPr vert="horz" wrap="square" lIns="0" tIns="0" rIns="0" bIns="0" rtlCol="0" anchor="ctr">
            <a:noAutofit/>
          </a:bodyPr>
          <a:lstStyle/>
          <a:p>
            <a:r>
              <a:rPr lang="en-US"/>
              <a:t>Click to edit Master title style</a:t>
            </a:r>
          </a:p>
        </p:txBody>
      </p:sp>
      <p:pic>
        <p:nvPicPr>
          <p:cNvPr id="6" name="Picture 5" descr="NSW Government Logo" title="NSW Government Logo"/>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8385743" y="6121867"/>
            <a:ext cx="494457" cy="540000"/>
          </a:xfrm>
          <a:prstGeom prst="rect">
            <a:avLst/>
          </a:prstGeom>
        </p:spPr>
      </p:pic>
      <p:cxnSp>
        <p:nvCxnSpPr>
          <p:cNvPr id="9" name="Straight Connector 8">
            <a:extLst>
              <a:ext uri="{FF2B5EF4-FFF2-40B4-BE49-F238E27FC236}">
                <a16:creationId xmlns:a16="http://schemas.microsoft.com/office/drawing/2014/main" id="{AEFECAC3-BF7B-B746-B2D0-F554BFDC2964}"/>
              </a:ext>
              <a:ext uri="{C183D7F6-B498-43B3-948B-1728B52AA6E4}">
                <adec:decorative xmlns:adec="http://schemas.microsoft.com/office/drawing/2017/decorative" xmlns="" val="1"/>
              </a:ext>
            </a:extLst>
          </p:cNvPr>
          <p:cNvCxnSpPr/>
          <p:nvPr userDrawn="1"/>
        </p:nvCxnSpPr>
        <p:spPr>
          <a:xfrm>
            <a:off x="252796" y="388436"/>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74AE827-7224-224D-825A-55775AA3B745}"/>
              </a:ext>
            </a:extLst>
          </p:cNvPr>
          <p:cNvSpPr txBox="1"/>
          <p:nvPr userDrawn="1"/>
        </p:nvSpPr>
        <p:spPr>
          <a:xfrm>
            <a:off x="306970" y="365499"/>
            <a:ext cx="1396216" cy="103875"/>
          </a:xfrm>
          <a:prstGeom prst="rect">
            <a:avLst/>
          </a:prstGeom>
          <a:noFill/>
        </p:spPr>
        <p:txBody>
          <a:bodyPr wrap="none" lIns="0" tIns="0" rIns="0" bIns="0" rtlCol="0">
            <a:spAutoFit/>
          </a:bodyPr>
          <a:lstStyle/>
          <a:p>
            <a:r>
              <a:rPr lang="en-AU" sz="675" b="1" i="0">
                <a:solidFill>
                  <a:schemeClr val="tx2"/>
                </a:solidFill>
                <a:latin typeface="Montserrat SemiBold" pitchFamily="2" charset="77"/>
              </a:rPr>
              <a:t>NSW Department of Education</a:t>
            </a:r>
          </a:p>
        </p:txBody>
      </p:sp>
    </p:spTree>
    <p:extLst>
      <p:ext uri="{BB962C8B-B14F-4D97-AF65-F5344CB8AC3E}">
        <p14:creationId xmlns:p14="http://schemas.microsoft.com/office/powerpoint/2010/main" val="183135736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Lst>
  <p:transition>
    <p:fade/>
  </p:transition>
  <p:hf hdr="0" dt="0"/>
  <p:txStyles>
    <p:titleStyle>
      <a:lvl1pPr algn="l" defTabSz="385753" rtl="0" eaLnBrk="1" latinLnBrk="0" hangingPunct="1">
        <a:lnSpc>
          <a:spcPct val="90000"/>
        </a:lnSpc>
        <a:spcBef>
          <a:spcPct val="0"/>
        </a:spcBef>
        <a:buNone/>
        <a:defRPr sz="1800" b="0" i="0" kern="1200">
          <a:solidFill>
            <a:schemeClr val="tx2"/>
          </a:solidFill>
          <a:latin typeface="Montserrat SemiBold" panose="00000700000000000000" pitchFamily="2" charset="0"/>
          <a:ea typeface="+mj-ea"/>
          <a:cs typeface="+mj-cs"/>
        </a:defRPr>
      </a:lvl1pPr>
    </p:titleStyle>
    <p:bodyStyle>
      <a:lvl1pPr marL="100010" indent="-100010" algn="l" defTabSz="385753" rtl="0" eaLnBrk="1" latinLnBrk="0" hangingPunct="1">
        <a:lnSpc>
          <a:spcPct val="150000"/>
        </a:lnSpc>
        <a:spcBef>
          <a:spcPts val="0"/>
        </a:spcBef>
        <a:spcAft>
          <a:spcPts val="338"/>
        </a:spcAft>
        <a:buFont typeface="Arial" panose="020B0604020202020204" pitchFamily="34" charset="0"/>
        <a:buChar char="•"/>
        <a:defRPr sz="1350" kern="1200">
          <a:solidFill>
            <a:schemeClr val="tx2"/>
          </a:solidFill>
          <a:latin typeface="Montserrat Medium" pitchFamily="2" charset="77"/>
          <a:ea typeface="+mn-ea"/>
          <a:cs typeface="+mn-cs"/>
        </a:defRPr>
      </a:lvl1pPr>
      <a:lvl2pPr marL="200020" indent="-100010" algn="l" defTabSz="385753" rtl="0" eaLnBrk="1" latinLnBrk="0" hangingPunct="1">
        <a:lnSpc>
          <a:spcPct val="150000"/>
        </a:lnSpc>
        <a:spcBef>
          <a:spcPts val="0"/>
        </a:spcBef>
        <a:spcAft>
          <a:spcPts val="338"/>
        </a:spcAft>
        <a:buClrTx/>
        <a:buFont typeface="Montserrat Medium" panose="00000600000000000000" pitchFamily="2" charset="0"/>
        <a:buChar char="−"/>
        <a:defRPr sz="1200" kern="1200">
          <a:solidFill>
            <a:schemeClr val="tx2"/>
          </a:solidFill>
          <a:latin typeface="Montserrat Medium" pitchFamily="2" charset="77"/>
          <a:ea typeface="+mn-ea"/>
          <a:cs typeface="+mn-cs"/>
        </a:defRPr>
      </a:lvl2pPr>
      <a:lvl3pPr marL="304496" indent="-100010" algn="l" defTabSz="385753" rtl="0" eaLnBrk="1" latinLnBrk="0" hangingPunct="1">
        <a:lnSpc>
          <a:spcPct val="150000"/>
        </a:lnSpc>
        <a:spcBef>
          <a:spcPts val="0"/>
        </a:spcBef>
        <a:spcAft>
          <a:spcPts val="338"/>
        </a:spcAft>
        <a:buClrTx/>
        <a:buFont typeface="Montserrat Medium" panose="00000600000000000000" pitchFamily="2" charset="0"/>
        <a:buChar char="»"/>
        <a:tabLst/>
        <a:defRPr sz="1200" kern="1200">
          <a:solidFill>
            <a:schemeClr val="tx2"/>
          </a:solidFill>
          <a:latin typeface="Montserrat Medium" pitchFamily="2" charset="77"/>
          <a:ea typeface="+mn-ea"/>
          <a:cs typeface="+mn-cs"/>
        </a:defRPr>
      </a:lvl3pPr>
      <a:lvl4pPr marL="404506" indent="-104476" algn="l" defTabSz="385753" rtl="0" eaLnBrk="1" latinLnBrk="0" hangingPunct="1">
        <a:lnSpc>
          <a:spcPct val="150000"/>
        </a:lnSpc>
        <a:spcBef>
          <a:spcPts val="0"/>
        </a:spcBef>
        <a:spcAft>
          <a:spcPts val="338"/>
        </a:spcAft>
        <a:buClrTx/>
        <a:buFont typeface="Courier New" panose="02070309020205020404" pitchFamily="49" charset="0"/>
        <a:buChar char="o"/>
        <a:defRPr sz="1050" b="0" i="0" kern="1200">
          <a:solidFill>
            <a:schemeClr val="tx2"/>
          </a:solidFill>
          <a:latin typeface="Montserrat Medium" panose="00000600000000000000" pitchFamily="2" charset="0"/>
          <a:ea typeface="+mn-ea"/>
          <a:cs typeface="+mn-cs"/>
        </a:defRPr>
      </a:lvl4pPr>
      <a:lvl5pPr marL="504515" indent="-100010" algn="l" defTabSz="385753" rtl="0" eaLnBrk="1" latinLnBrk="0" hangingPunct="1">
        <a:lnSpc>
          <a:spcPct val="150000"/>
        </a:lnSpc>
        <a:spcBef>
          <a:spcPts val="0"/>
        </a:spcBef>
        <a:spcAft>
          <a:spcPts val="338"/>
        </a:spcAft>
        <a:buFont typeface="Arial" panose="020B0604020202020204" pitchFamily="34" charset="0"/>
        <a:buChar char="•"/>
        <a:defRPr sz="900" b="0" i="0" kern="1200">
          <a:solidFill>
            <a:schemeClr val="tx2"/>
          </a:solidFill>
          <a:latin typeface="+mn-lt"/>
          <a:ea typeface="+mn-ea"/>
          <a:cs typeface="+mn-cs"/>
        </a:defRPr>
      </a:lvl5pPr>
      <a:lvl6pPr marL="1060817" indent="-96438" algn="l" defTabSz="38575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6pPr>
      <a:lvl7pPr marL="1253693" indent="-96438" algn="l" defTabSz="38575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7pPr>
      <a:lvl8pPr marL="1446569" indent="-96438" algn="l" defTabSz="38575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8pPr>
      <a:lvl9pPr marL="1639444" indent="-96438" algn="l" defTabSz="38575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9pPr>
    </p:bodyStyle>
    <p:otherStyle>
      <a:defPPr>
        <a:defRPr lang="en-US"/>
      </a:defPPr>
      <a:lvl1pPr marL="0" algn="l" defTabSz="385753" rtl="0" eaLnBrk="1" latinLnBrk="0" hangingPunct="1">
        <a:defRPr sz="760" kern="1200">
          <a:solidFill>
            <a:schemeClr val="tx1"/>
          </a:solidFill>
          <a:latin typeface="+mn-lt"/>
          <a:ea typeface="+mn-ea"/>
          <a:cs typeface="+mn-cs"/>
        </a:defRPr>
      </a:lvl1pPr>
      <a:lvl2pPr marL="192876" algn="l" defTabSz="385753" rtl="0" eaLnBrk="1" latinLnBrk="0" hangingPunct="1">
        <a:defRPr sz="760" kern="1200">
          <a:solidFill>
            <a:schemeClr val="tx1"/>
          </a:solidFill>
          <a:latin typeface="+mn-lt"/>
          <a:ea typeface="+mn-ea"/>
          <a:cs typeface="+mn-cs"/>
        </a:defRPr>
      </a:lvl2pPr>
      <a:lvl3pPr marL="385753" algn="l" defTabSz="385753" rtl="0" eaLnBrk="1" latinLnBrk="0" hangingPunct="1">
        <a:defRPr sz="760" kern="1200">
          <a:solidFill>
            <a:schemeClr val="tx1"/>
          </a:solidFill>
          <a:latin typeface="+mn-lt"/>
          <a:ea typeface="+mn-ea"/>
          <a:cs typeface="+mn-cs"/>
        </a:defRPr>
      </a:lvl3pPr>
      <a:lvl4pPr marL="578627" algn="l" defTabSz="385753" rtl="0" eaLnBrk="1" latinLnBrk="0" hangingPunct="1">
        <a:defRPr sz="760" kern="1200">
          <a:solidFill>
            <a:schemeClr val="tx1"/>
          </a:solidFill>
          <a:latin typeface="+mn-lt"/>
          <a:ea typeface="+mn-ea"/>
          <a:cs typeface="+mn-cs"/>
        </a:defRPr>
      </a:lvl4pPr>
      <a:lvl5pPr marL="771504" algn="l" defTabSz="385753" rtl="0" eaLnBrk="1" latinLnBrk="0" hangingPunct="1">
        <a:defRPr sz="760" kern="1200">
          <a:solidFill>
            <a:schemeClr val="tx1"/>
          </a:solidFill>
          <a:latin typeface="+mn-lt"/>
          <a:ea typeface="+mn-ea"/>
          <a:cs typeface="+mn-cs"/>
        </a:defRPr>
      </a:lvl5pPr>
      <a:lvl6pPr marL="964379" algn="l" defTabSz="385753" rtl="0" eaLnBrk="1" latinLnBrk="0" hangingPunct="1">
        <a:defRPr sz="760" kern="1200">
          <a:solidFill>
            <a:schemeClr val="tx1"/>
          </a:solidFill>
          <a:latin typeface="+mn-lt"/>
          <a:ea typeface="+mn-ea"/>
          <a:cs typeface="+mn-cs"/>
        </a:defRPr>
      </a:lvl6pPr>
      <a:lvl7pPr marL="1157255" algn="l" defTabSz="385753" rtl="0" eaLnBrk="1" latinLnBrk="0" hangingPunct="1">
        <a:defRPr sz="760" kern="1200">
          <a:solidFill>
            <a:schemeClr val="tx1"/>
          </a:solidFill>
          <a:latin typeface="+mn-lt"/>
          <a:ea typeface="+mn-ea"/>
          <a:cs typeface="+mn-cs"/>
        </a:defRPr>
      </a:lvl7pPr>
      <a:lvl8pPr marL="1350131" algn="l" defTabSz="385753" rtl="0" eaLnBrk="1" latinLnBrk="0" hangingPunct="1">
        <a:defRPr sz="760" kern="1200">
          <a:solidFill>
            <a:schemeClr val="tx1"/>
          </a:solidFill>
          <a:latin typeface="+mn-lt"/>
          <a:ea typeface="+mn-ea"/>
          <a:cs typeface="+mn-cs"/>
        </a:defRPr>
      </a:lvl8pPr>
      <a:lvl9pPr marL="1543007" algn="l" defTabSz="385753" rtl="0" eaLnBrk="1" latinLnBrk="0" hangingPunct="1">
        <a:defRPr sz="760" kern="1200">
          <a:solidFill>
            <a:schemeClr val="tx1"/>
          </a:solidFill>
          <a:latin typeface="+mn-lt"/>
          <a:ea typeface="+mn-ea"/>
          <a:cs typeface="+mn-cs"/>
        </a:defRPr>
      </a:lvl9pPr>
    </p:otherStyle>
  </p:txStyles>
  <p:extLst>
    <p:ext uri="{27BBF7A9-308A-43DC-89C8-2F10F3537804}">
      <p15:sldGuideLst xmlns:p15="http://schemas.microsoft.com/office/powerpoint/2012/main">
        <p15:guide id="19" pos="184">
          <p15:clr>
            <a:srgbClr val="F26B43"/>
          </p15:clr>
        </p15:guide>
        <p15:guide id="20" pos="2880">
          <p15:clr>
            <a:srgbClr val="F26B43"/>
          </p15:clr>
        </p15:guide>
        <p15:guide id="21" pos="5576">
          <p15:clr>
            <a:srgbClr val="F26B43"/>
          </p15:clr>
        </p15:guide>
        <p15:guide id="22" orient="horz" pos="249">
          <p15:clr>
            <a:srgbClr val="F26B43"/>
          </p15:clr>
        </p15:guide>
        <p15:guide id="23" orient="horz" pos="4178">
          <p15:clr>
            <a:srgbClr val="F26B43"/>
          </p15:clr>
        </p15:guide>
        <p15:guide id="34" orient="horz" pos="527">
          <p15:clr>
            <a:srgbClr val="FBAE40"/>
          </p15:clr>
        </p15:guide>
        <p15:guide id="35" orient="horz" pos="867">
          <p15:clr>
            <a:srgbClr val="FBAE40"/>
          </p15:clr>
        </p15:guide>
        <p15:guide id="36" orient="horz" pos="1049">
          <p15:clr>
            <a:srgbClr val="FBAE40"/>
          </p15:clr>
        </p15:guide>
        <p15:guide id="37" pos="633">
          <p15:clr>
            <a:srgbClr val="FDE53C"/>
          </p15:clr>
        </p15:guide>
        <p15:guide id="38" pos="1082">
          <p15:clr>
            <a:srgbClr val="FDE53C"/>
          </p15:clr>
        </p15:guide>
        <p15:guide id="39" pos="1532">
          <p15:clr>
            <a:srgbClr val="FDE53C"/>
          </p15:clr>
        </p15:guide>
        <p15:guide id="40" pos="1981">
          <p15:clr>
            <a:srgbClr val="FDE53C"/>
          </p15:clr>
        </p15:guide>
        <p15:guide id="41" pos="2431">
          <p15:clr>
            <a:srgbClr val="FDE53C"/>
          </p15:clr>
        </p15:guide>
        <p15:guide id="42" pos="3329">
          <p15:clr>
            <a:srgbClr val="FDE53C"/>
          </p15:clr>
        </p15:guide>
        <p15:guide id="43" pos="3779">
          <p15:clr>
            <a:srgbClr val="FDE53C"/>
          </p15:clr>
        </p15:guide>
        <p15:guide id="44" pos="4228">
          <p15:clr>
            <a:srgbClr val="FDE53C"/>
          </p15:clr>
        </p15:guide>
        <p15:guide id="45" pos="4677">
          <p15:clr>
            <a:srgbClr val="FDE53C"/>
          </p15:clr>
        </p15:guide>
        <p15:guide id="46" pos="5126">
          <p15:clr>
            <a:srgbClr val="FDE53C"/>
          </p15:clr>
        </p15:guide>
        <p15:guide id="47" orient="horz" pos="1162">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360" imgH="360" progId="TCLayout.ActiveDocument.1">
                  <p:embed/>
                </p:oleObj>
              </mc:Choice>
              <mc:Fallback>
                <p:oleObj name="think-cell Slide" r:id="rId5" imgW="360" imgH="36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endParaRPr kumimoji="0" lang="en-AU" sz="3000" b="0" i="0" u="none" strike="noStrike" kern="1200" cap="none" spc="0" normalizeH="0" baseline="0" noProof="0" dirty="0" err="1">
              <a:ln>
                <a:noFill/>
              </a:ln>
              <a:solidFill>
                <a:srgbClr val="FFFFFF"/>
              </a:solidFill>
              <a:effectLst/>
              <a:uLnTx/>
              <a:uFillTx/>
              <a:latin typeface="Montserrat SemiBold" panose="00000700000000000000" pitchFamily="2" charset="0"/>
              <a:ea typeface="+mn-ea"/>
              <a:cs typeface="+mn-cs"/>
              <a:sym typeface="Montserrat SemiBold" panose="00000700000000000000" pitchFamily="2" charset="0"/>
            </a:endParaRPr>
          </a:p>
        </p:txBody>
      </p:sp>
      <p:sp>
        <p:nvSpPr>
          <p:cNvPr id="3" name="Text Placeholder 2"/>
          <p:cNvSpPr>
            <a:spLocks noGrp="1"/>
          </p:cNvSpPr>
          <p:nvPr>
            <p:ph type="body" sz="quarter" idx="15"/>
          </p:nvPr>
        </p:nvSpPr>
        <p:spPr>
          <a:xfrm>
            <a:off x="4872899" y="3352800"/>
            <a:ext cx="3883174" cy="1468581"/>
          </a:xfrm>
        </p:spPr>
        <p:txBody>
          <a:bodyPr/>
          <a:lstStyle/>
          <a:p>
            <a:pPr>
              <a:lnSpc>
                <a:spcPct val="100000"/>
              </a:lnSpc>
              <a:spcAft>
                <a:spcPts val="0"/>
              </a:spcAft>
            </a:pPr>
            <a:r>
              <a:rPr lang="en-AU" sz="1400" dirty="0"/>
              <a:t>Ben Ballard, R/Executive Director, Learning &amp; Wellbeing</a:t>
            </a:r>
          </a:p>
          <a:p>
            <a:pPr>
              <a:lnSpc>
                <a:spcPct val="100000"/>
              </a:lnSpc>
              <a:spcAft>
                <a:spcPts val="0"/>
              </a:spcAft>
            </a:pPr>
            <a:endParaRPr lang="en-AU" sz="1400" dirty="0"/>
          </a:p>
          <a:p>
            <a:pPr>
              <a:lnSpc>
                <a:spcPct val="100000"/>
              </a:lnSpc>
              <a:spcAft>
                <a:spcPts val="0"/>
              </a:spcAft>
            </a:pPr>
            <a:r>
              <a:rPr lang="en-AU" sz="1400" dirty="0"/>
              <a:t>Karen Hodge, Director, Student Engagement &amp; Interagency Partnerships</a:t>
            </a:r>
          </a:p>
          <a:p>
            <a:pPr>
              <a:lnSpc>
                <a:spcPct val="100000"/>
              </a:lnSpc>
              <a:spcAft>
                <a:spcPts val="0"/>
              </a:spcAft>
            </a:pPr>
            <a:endParaRPr lang="en-AU" sz="1600" dirty="0"/>
          </a:p>
          <a:p>
            <a:pPr>
              <a:lnSpc>
                <a:spcPct val="100000"/>
              </a:lnSpc>
              <a:spcAft>
                <a:spcPts val="0"/>
              </a:spcAft>
            </a:pPr>
            <a:endParaRPr lang="en-AU" sz="1600" dirty="0"/>
          </a:p>
          <a:p>
            <a:pPr>
              <a:lnSpc>
                <a:spcPct val="100000"/>
              </a:lnSpc>
              <a:spcAft>
                <a:spcPts val="0"/>
              </a:spcAft>
            </a:pPr>
            <a:endParaRPr lang="en-AU" sz="1600" dirty="0"/>
          </a:p>
          <a:p>
            <a:pPr>
              <a:lnSpc>
                <a:spcPct val="100000"/>
              </a:lnSpc>
              <a:spcAft>
                <a:spcPts val="0"/>
              </a:spcAft>
            </a:pPr>
            <a:endParaRPr lang="en-AU" sz="1600" dirty="0"/>
          </a:p>
          <a:p>
            <a:pPr>
              <a:lnSpc>
                <a:spcPct val="100000"/>
              </a:lnSpc>
              <a:spcAft>
                <a:spcPts val="0"/>
              </a:spcAft>
            </a:pPr>
            <a:r>
              <a:rPr lang="en-AU" sz="1600" dirty="0"/>
              <a:t> </a:t>
            </a:r>
          </a:p>
          <a:p>
            <a:pPr>
              <a:lnSpc>
                <a:spcPct val="100000"/>
              </a:lnSpc>
              <a:spcAft>
                <a:spcPts val="0"/>
              </a:spcAft>
            </a:pPr>
            <a:r>
              <a:rPr lang="en-AU" sz="1600" dirty="0"/>
              <a:t>4 September </a:t>
            </a:r>
          </a:p>
          <a:p>
            <a:pPr>
              <a:lnSpc>
                <a:spcPct val="100000"/>
              </a:lnSpc>
              <a:spcAft>
                <a:spcPts val="0"/>
              </a:spcAft>
            </a:pPr>
            <a:endParaRPr lang="en-AU" sz="1600" dirty="0"/>
          </a:p>
        </p:txBody>
      </p:sp>
      <p:sp>
        <p:nvSpPr>
          <p:cNvPr id="2" name="Title 1"/>
          <p:cNvSpPr>
            <a:spLocks noGrp="1"/>
          </p:cNvSpPr>
          <p:nvPr>
            <p:ph type="title"/>
          </p:nvPr>
        </p:nvSpPr>
        <p:spPr>
          <a:xfrm>
            <a:off x="4849091" y="886959"/>
            <a:ext cx="4178529" cy="2116706"/>
          </a:xfrm>
        </p:spPr>
        <p:txBody>
          <a:bodyPr/>
          <a:lstStyle/>
          <a:p>
            <a:r>
              <a:rPr lang="en-AU" dirty="0"/>
              <a:t/>
            </a:r>
            <a:br>
              <a:rPr lang="en-AU" dirty="0"/>
            </a:br>
            <a:r>
              <a:rPr lang="en-AU" dirty="0"/>
              <a:t/>
            </a:r>
            <a:br>
              <a:rPr lang="en-AU" dirty="0"/>
            </a:br>
            <a:r>
              <a:rPr lang="en-AU" sz="2800" dirty="0"/>
              <a:t>PPA State Council</a:t>
            </a:r>
            <a:br>
              <a:rPr lang="en-AU" sz="2800" dirty="0"/>
            </a:br>
            <a:r>
              <a:rPr lang="en-AU" sz="2000" dirty="0"/>
              <a:t/>
            </a:r>
            <a:br>
              <a:rPr lang="en-AU" sz="2000" dirty="0"/>
            </a:br>
            <a:r>
              <a:rPr lang="en-AU" sz="2000" dirty="0"/>
              <a:t>Draft Behaviour Strategy for Consultation</a:t>
            </a:r>
          </a:p>
        </p:txBody>
      </p:sp>
      <p:sp>
        <p:nvSpPr>
          <p:cNvPr id="4" name="TextBox 3">
            <a:extLst>
              <a:ext uri="{FF2B5EF4-FFF2-40B4-BE49-F238E27FC236}">
                <a16:creationId xmlns:a16="http://schemas.microsoft.com/office/drawing/2014/main" id="{3A8ABAC1-063C-C446-98CF-DD62E9CEE670}"/>
              </a:ext>
            </a:extLst>
          </p:cNvPr>
          <p:cNvSpPr txBox="1"/>
          <p:nvPr/>
        </p:nvSpPr>
        <p:spPr>
          <a:xfrm>
            <a:off x="3431177" y="2246811"/>
            <a:ext cx="0" cy="0"/>
          </a:xfrm>
          <a:prstGeom prst="rect">
            <a:avLst/>
          </a:prstGeom>
          <a:noFill/>
        </p:spPr>
        <p:txBody>
          <a:bodyPr wrap="none" lIns="0" tIns="0" rIns="0" bIns="0" rtlCol="0">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ontserrat Medium"/>
              <a:ea typeface="+mn-ea"/>
              <a:cs typeface="+mn-cs"/>
            </a:endParaRPr>
          </a:p>
        </p:txBody>
      </p:sp>
    </p:spTree>
    <p:extLst>
      <p:ext uri="{BB962C8B-B14F-4D97-AF65-F5344CB8AC3E}">
        <p14:creationId xmlns:p14="http://schemas.microsoft.com/office/powerpoint/2010/main" val="201830618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289797" y="1075394"/>
            <a:ext cx="8627651" cy="419659"/>
          </a:xfrm>
        </p:spPr>
        <p:txBody>
          <a:bodyPr/>
          <a:lstStyle/>
          <a:p>
            <a:pPr>
              <a:lnSpc>
                <a:spcPct val="100000"/>
              </a:lnSpc>
              <a:spcAft>
                <a:spcPts val="0"/>
              </a:spcAft>
            </a:pPr>
            <a:r>
              <a:rPr lang="en-AU" sz="1600" dirty="0"/>
              <a:t>We will continue to collaborate and use feedback from schools and stakeholders to strengthen our work </a:t>
            </a:r>
          </a:p>
        </p:txBody>
      </p:sp>
      <p:sp>
        <p:nvSpPr>
          <p:cNvPr id="4" name="Title 3"/>
          <p:cNvSpPr>
            <a:spLocks noGrp="1"/>
          </p:cNvSpPr>
          <p:nvPr>
            <p:ph type="title"/>
          </p:nvPr>
        </p:nvSpPr>
        <p:spPr>
          <a:xfrm>
            <a:off x="253190" y="620699"/>
            <a:ext cx="8623051" cy="498470"/>
          </a:xfrm>
        </p:spPr>
        <p:txBody>
          <a:bodyPr/>
          <a:lstStyle/>
          <a:p>
            <a:r>
              <a:rPr lang="en-AU" dirty="0"/>
              <a:t>Our ways of working to drive this key reform </a:t>
            </a:r>
          </a:p>
        </p:txBody>
      </p:sp>
      <p:sp>
        <p:nvSpPr>
          <p:cNvPr id="6" name="Rounded Rectangle 5">
            <a:extLst>
              <a:ext uri="{FF2B5EF4-FFF2-40B4-BE49-F238E27FC236}">
                <a16:creationId xmlns:a16="http://schemas.microsoft.com/office/drawing/2014/main" id="{03277388-6AB7-E447-8128-428D49C398B6}"/>
              </a:ext>
            </a:extLst>
          </p:cNvPr>
          <p:cNvSpPr/>
          <p:nvPr/>
        </p:nvSpPr>
        <p:spPr>
          <a:xfrm>
            <a:off x="836278" y="2198571"/>
            <a:ext cx="2099873" cy="1628361"/>
          </a:xfrm>
          <a:prstGeom prst="roundRect">
            <a:avLst/>
          </a:prstGeom>
          <a:solidFill>
            <a:schemeClr val="accent3">
              <a:lumMod val="20000"/>
              <a:lumOff val="80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6"/>
            <a:endParaRPr lang="en-US" sz="1350" dirty="0">
              <a:solidFill>
                <a:srgbClr val="FFFFFF"/>
              </a:solidFill>
              <a:latin typeface="Lato Light" panose="020F0502020204030203" pitchFamily="34" charset="0"/>
            </a:endParaRPr>
          </a:p>
        </p:txBody>
      </p:sp>
      <p:sp>
        <p:nvSpPr>
          <p:cNvPr id="7" name="Oval 6">
            <a:extLst>
              <a:ext uri="{FF2B5EF4-FFF2-40B4-BE49-F238E27FC236}">
                <a16:creationId xmlns:a16="http://schemas.microsoft.com/office/drawing/2014/main" id="{7BB40922-8D96-6E44-BAB1-9AF4F7E66F7A}"/>
              </a:ext>
            </a:extLst>
          </p:cNvPr>
          <p:cNvSpPr/>
          <p:nvPr/>
        </p:nvSpPr>
        <p:spPr>
          <a:xfrm>
            <a:off x="337648" y="1675622"/>
            <a:ext cx="786946" cy="78694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6"/>
            <a:endParaRPr lang="en-US" sz="1350" dirty="0">
              <a:solidFill>
                <a:srgbClr val="FFFFFF"/>
              </a:solidFill>
              <a:latin typeface="Lato Light" panose="020F0502020204030203" pitchFamily="34" charset="0"/>
            </a:endParaRPr>
          </a:p>
        </p:txBody>
      </p:sp>
      <p:sp>
        <p:nvSpPr>
          <p:cNvPr id="8" name="Rounded Rectangle 7">
            <a:extLst>
              <a:ext uri="{FF2B5EF4-FFF2-40B4-BE49-F238E27FC236}">
                <a16:creationId xmlns:a16="http://schemas.microsoft.com/office/drawing/2014/main" id="{689359CE-E070-1342-A7CF-84E4057DFF64}"/>
              </a:ext>
            </a:extLst>
          </p:cNvPr>
          <p:cNvSpPr/>
          <p:nvPr/>
        </p:nvSpPr>
        <p:spPr>
          <a:xfrm>
            <a:off x="3525089" y="2198571"/>
            <a:ext cx="2099873" cy="1628361"/>
          </a:xfrm>
          <a:prstGeom prst="roundRect">
            <a:avLst/>
          </a:prstGeom>
          <a:solidFill>
            <a:schemeClr val="accent3">
              <a:lumMod val="20000"/>
              <a:lumOff val="80000"/>
            </a:schemeClr>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6"/>
            <a:endParaRPr lang="en-US" sz="1350" dirty="0">
              <a:solidFill>
                <a:srgbClr val="FFFFFF"/>
              </a:solidFill>
              <a:latin typeface="Lato Light" panose="020F0502020204030203" pitchFamily="34" charset="0"/>
            </a:endParaRPr>
          </a:p>
        </p:txBody>
      </p:sp>
      <p:sp>
        <p:nvSpPr>
          <p:cNvPr id="9" name="Oval 8">
            <a:extLst>
              <a:ext uri="{FF2B5EF4-FFF2-40B4-BE49-F238E27FC236}">
                <a16:creationId xmlns:a16="http://schemas.microsoft.com/office/drawing/2014/main" id="{DD194708-E192-5D49-A06C-4FF81E493217}"/>
              </a:ext>
            </a:extLst>
          </p:cNvPr>
          <p:cNvSpPr/>
          <p:nvPr/>
        </p:nvSpPr>
        <p:spPr>
          <a:xfrm>
            <a:off x="3264787" y="1709669"/>
            <a:ext cx="786946" cy="7869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6"/>
            <a:endParaRPr lang="en-US" sz="1350" dirty="0">
              <a:solidFill>
                <a:srgbClr val="FFFFFF"/>
              </a:solidFill>
              <a:latin typeface="Lato Light" panose="020F0502020204030203" pitchFamily="34" charset="0"/>
            </a:endParaRPr>
          </a:p>
        </p:txBody>
      </p:sp>
      <p:sp>
        <p:nvSpPr>
          <p:cNvPr id="10" name="Rounded Rectangle 9">
            <a:extLst>
              <a:ext uri="{FF2B5EF4-FFF2-40B4-BE49-F238E27FC236}">
                <a16:creationId xmlns:a16="http://schemas.microsoft.com/office/drawing/2014/main" id="{FE4CE7B1-5D75-5E40-BC4E-113DCD3DC87D}"/>
              </a:ext>
            </a:extLst>
          </p:cNvPr>
          <p:cNvSpPr/>
          <p:nvPr/>
        </p:nvSpPr>
        <p:spPr>
          <a:xfrm>
            <a:off x="6213901" y="2198571"/>
            <a:ext cx="2099873" cy="1628361"/>
          </a:xfrm>
          <a:prstGeom prst="roundRect">
            <a:avLst/>
          </a:prstGeom>
          <a:solidFill>
            <a:schemeClr val="accent3">
              <a:lumMod val="20000"/>
              <a:lumOff val="80000"/>
            </a:schemeClr>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6"/>
            <a:endParaRPr lang="en-US" sz="1350" dirty="0">
              <a:solidFill>
                <a:srgbClr val="FFFFFF"/>
              </a:solidFill>
              <a:latin typeface="Lato Light" panose="020F0502020204030203" pitchFamily="34" charset="0"/>
            </a:endParaRPr>
          </a:p>
        </p:txBody>
      </p:sp>
      <p:sp>
        <p:nvSpPr>
          <p:cNvPr id="11" name="Oval 10">
            <a:extLst>
              <a:ext uri="{FF2B5EF4-FFF2-40B4-BE49-F238E27FC236}">
                <a16:creationId xmlns:a16="http://schemas.microsoft.com/office/drawing/2014/main" id="{CBDA54E3-E621-C64A-B260-0C8862E314B4}"/>
              </a:ext>
            </a:extLst>
          </p:cNvPr>
          <p:cNvSpPr/>
          <p:nvPr/>
        </p:nvSpPr>
        <p:spPr>
          <a:xfrm>
            <a:off x="5953598" y="1714533"/>
            <a:ext cx="786946" cy="78694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6"/>
            <a:endParaRPr lang="en-US" sz="1350" dirty="0">
              <a:solidFill>
                <a:srgbClr val="FFFFFF"/>
              </a:solidFill>
              <a:latin typeface="Lato Light" panose="020F0502020204030203" pitchFamily="34" charset="0"/>
            </a:endParaRPr>
          </a:p>
        </p:txBody>
      </p:sp>
      <p:sp>
        <p:nvSpPr>
          <p:cNvPr id="12" name="Rounded Rectangle 11">
            <a:extLst>
              <a:ext uri="{FF2B5EF4-FFF2-40B4-BE49-F238E27FC236}">
                <a16:creationId xmlns:a16="http://schemas.microsoft.com/office/drawing/2014/main" id="{82030841-3EF4-AA42-9AD0-1EC5251D62D9}"/>
              </a:ext>
            </a:extLst>
          </p:cNvPr>
          <p:cNvSpPr/>
          <p:nvPr/>
        </p:nvSpPr>
        <p:spPr>
          <a:xfrm>
            <a:off x="2964956" y="4087235"/>
            <a:ext cx="2099873" cy="1628361"/>
          </a:xfrm>
          <a:prstGeom prst="roundRect">
            <a:avLst/>
          </a:prstGeom>
          <a:solidFill>
            <a:schemeClr val="accent3">
              <a:lumMod val="20000"/>
              <a:lumOff val="80000"/>
            </a:schemeClr>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6"/>
            <a:endParaRPr lang="en-US" sz="1350" dirty="0">
              <a:solidFill>
                <a:srgbClr val="FFFFFF"/>
              </a:solidFill>
              <a:latin typeface="Lato Light" panose="020F0502020204030203" pitchFamily="34" charset="0"/>
            </a:endParaRPr>
          </a:p>
        </p:txBody>
      </p:sp>
      <p:sp>
        <p:nvSpPr>
          <p:cNvPr id="13" name="Oval 12">
            <a:extLst>
              <a:ext uri="{FF2B5EF4-FFF2-40B4-BE49-F238E27FC236}">
                <a16:creationId xmlns:a16="http://schemas.microsoft.com/office/drawing/2014/main" id="{31333700-DA92-204D-9796-50AB41CE1991}"/>
              </a:ext>
            </a:extLst>
          </p:cNvPr>
          <p:cNvSpPr/>
          <p:nvPr/>
        </p:nvSpPr>
        <p:spPr>
          <a:xfrm>
            <a:off x="2704653" y="3763703"/>
            <a:ext cx="786946" cy="7869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6"/>
            <a:endParaRPr lang="en-US" sz="1350" dirty="0">
              <a:solidFill>
                <a:srgbClr val="FFFFFF"/>
              </a:solidFill>
              <a:latin typeface="Lato Light" panose="020F0502020204030203" pitchFamily="34" charset="0"/>
            </a:endParaRPr>
          </a:p>
        </p:txBody>
      </p:sp>
      <p:sp>
        <p:nvSpPr>
          <p:cNvPr id="14" name="Rounded Rectangle 13">
            <a:extLst>
              <a:ext uri="{FF2B5EF4-FFF2-40B4-BE49-F238E27FC236}">
                <a16:creationId xmlns:a16="http://schemas.microsoft.com/office/drawing/2014/main" id="{0B5826ED-53DC-FC49-9A00-96E263F05F02}"/>
              </a:ext>
            </a:extLst>
          </p:cNvPr>
          <p:cNvSpPr/>
          <p:nvPr/>
        </p:nvSpPr>
        <p:spPr>
          <a:xfrm>
            <a:off x="5626449" y="4087235"/>
            <a:ext cx="2099873" cy="1628361"/>
          </a:xfrm>
          <a:prstGeom prst="roundRect">
            <a:avLst/>
          </a:prstGeom>
          <a:solidFill>
            <a:schemeClr val="accent3">
              <a:lumMod val="20000"/>
              <a:lumOff val="80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6"/>
            <a:endParaRPr lang="en-US" sz="1350" dirty="0">
              <a:solidFill>
                <a:srgbClr val="FFFFFF"/>
              </a:solidFill>
              <a:latin typeface="Lato Light" panose="020F0502020204030203" pitchFamily="34" charset="0"/>
            </a:endParaRPr>
          </a:p>
        </p:txBody>
      </p:sp>
      <p:sp>
        <p:nvSpPr>
          <p:cNvPr id="15" name="Oval 14">
            <a:extLst>
              <a:ext uri="{FF2B5EF4-FFF2-40B4-BE49-F238E27FC236}">
                <a16:creationId xmlns:a16="http://schemas.microsoft.com/office/drawing/2014/main" id="{00B9C9B2-78CE-8D49-A4F2-AC78E494D94B}"/>
              </a:ext>
            </a:extLst>
          </p:cNvPr>
          <p:cNvSpPr/>
          <p:nvPr/>
        </p:nvSpPr>
        <p:spPr>
          <a:xfrm>
            <a:off x="5366146" y="3826932"/>
            <a:ext cx="786946" cy="7869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6"/>
            <a:endParaRPr lang="en-US" sz="1350" dirty="0">
              <a:solidFill>
                <a:srgbClr val="FFFFFF"/>
              </a:solidFill>
              <a:latin typeface="Lato Light" panose="020F0502020204030203" pitchFamily="34" charset="0"/>
            </a:endParaRPr>
          </a:p>
        </p:txBody>
      </p:sp>
      <p:sp>
        <p:nvSpPr>
          <p:cNvPr id="16" name="Freeform 15">
            <a:extLst>
              <a:ext uri="{FF2B5EF4-FFF2-40B4-BE49-F238E27FC236}">
                <a16:creationId xmlns:a16="http://schemas.microsoft.com/office/drawing/2014/main" id="{35D13D18-D83A-5446-A5D1-A2CCF80ACB3C}"/>
              </a:ext>
            </a:extLst>
          </p:cNvPr>
          <p:cNvSpPr>
            <a:spLocks noChangeAspect="1" noChangeArrowheads="1"/>
          </p:cNvSpPr>
          <p:nvPr/>
        </p:nvSpPr>
        <p:spPr bwMode="auto">
          <a:xfrm>
            <a:off x="479344" y="1900935"/>
            <a:ext cx="503552" cy="336319"/>
          </a:xfrm>
          <a:custGeom>
            <a:avLst/>
            <a:gdLst>
              <a:gd name="connsiteX0" fmla="*/ 1048678 w 1145117"/>
              <a:gd name="connsiteY0" fmla="*/ 645265 h 764815"/>
              <a:gd name="connsiteX1" fmla="*/ 1064235 w 1145117"/>
              <a:gd name="connsiteY1" fmla="*/ 651889 h 764815"/>
              <a:gd name="connsiteX2" fmla="*/ 1063878 w 1145117"/>
              <a:gd name="connsiteY2" fmla="*/ 683400 h 764815"/>
              <a:gd name="connsiteX3" fmla="*/ 1048187 w 1145117"/>
              <a:gd name="connsiteY3" fmla="*/ 690204 h 764815"/>
              <a:gd name="connsiteX4" fmla="*/ 1032496 w 1145117"/>
              <a:gd name="connsiteY4" fmla="*/ 683758 h 764815"/>
              <a:gd name="connsiteX5" fmla="*/ 1032496 w 1145117"/>
              <a:gd name="connsiteY5" fmla="*/ 652247 h 764815"/>
              <a:gd name="connsiteX6" fmla="*/ 1032853 w 1145117"/>
              <a:gd name="connsiteY6" fmla="*/ 651531 h 764815"/>
              <a:gd name="connsiteX7" fmla="*/ 1048678 w 1145117"/>
              <a:gd name="connsiteY7" fmla="*/ 645265 h 764815"/>
              <a:gd name="connsiteX8" fmla="*/ 572411 w 1145117"/>
              <a:gd name="connsiteY8" fmla="*/ 533500 h 764815"/>
              <a:gd name="connsiteX9" fmla="*/ 541110 w 1145117"/>
              <a:gd name="connsiteY9" fmla="*/ 564798 h 764815"/>
              <a:gd name="connsiteX10" fmla="*/ 572411 w 1145117"/>
              <a:gd name="connsiteY10" fmla="*/ 596096 h 764815"/>
              <a:gd name="connsiteX11" fmla="*/ 603711 w 1145117"/>
              <a:gd name="connsiteY11" fmla="*/ 564798 h 764815"/>
              <a:gd name="connsiteX12" fmla="*/ 572411 w 1145117"/>
              <a:gd name="connsiteY12" fmla="*/ 533500 h 764815"/>
              <a:gd name="connsiteX13" fmla="*/ 274872 w 1145117"/>
              <a:gd name="connsiteY13" fmla="*/ 259016 h 764815"/>
              <a:gd name="connsiteX14" fmla="*/ 44613 w 1145117"/>
              <a:gd name="connsiteY14" fmla="*/ 489611 h 764815"/>
              <a:gd name="connsiteX15" fmla="*/ 82390 w 1145117"/>
              <a:gd name="connsiteY15" fmla="*/ 616241 h 764815"/>
              <a:gd name="connsiteX16" fmla="*/ 212630 w 1145117"/>
              <a:gd name="connsiteY16" fmla="*/ 486014 h 764815"/>
              <a:gd name="connsiteX17" fmla="*/ 228461 w 1145117"/>
              <a:gd name="connsiteY17" fmla="*/ 479539 h 764815"/>
              <a:gd name="connsiteX18" fmla="*/ 244291 w 1145117"/>
              <a:gd name="connsiteY18" fmla="*/ 486014 h 764815"/>
              <a:gd name="connsiteX19" fmla="*/ 290343 w 1145117"/>
              <a:gd name="connsiteY19" fmla="*/ 532061 h 764815"/>
              <a:gd name="connsiteX20" fmla="*/ 342151 w 1145117"/>
              <a:gd name="connsiteY20" fmla="*/ 480618 h 764815"/>
              <a:gd name="connsiteX21" fmla="*/ 325242 w 1145117"/>
              <a:gd name="connsiteY21" fmla="*/ 459033 h 764815"/>
              <a:gd name="connsiteX22" fmla="*/ 347908 w 1145117"/>
              <a:gd name="connsiteY22" fmla="*/ 436729 h 764815"/>
              <a:gd name="connsiteX23" fmla="*/ 395039 w 1145117"/>
              <a:gd name="connsiteY23" fmla="*/ 436729 h 764815"/>
              <a:gd name="connsiteX24" fmla="*/ 417345 w 1145117"/>
              <a:gd name="connsiteY24" fmla="*/ 459033 h 764815"/>
              <a:gd name="connsiteX25" fmla="*/ 417345 w 1145117"/>
              <a:gd name="connsiteY25" fmla="*/ 506519 h 764815"/>
              <a:gd name="connsiteX26" fmla="*/ 395039 w 1145117"/>
              <a:gd name="connsiteY26" fmla="*/ 528823 h 764815"/>
              <a:gd name="connsiteX27" fmla="*/ 373452 w 1145117"/>
              <a:gd name="connsiteY27" fmla="*/ 512275 h 764815"/>
              <a:gd name="connsiteX28" fmla="*/ 306173 w 1145117"/>
              <a:gd name="connsiteY28" fmla="*/ 579547 h 764815"/>
              <a:gd name="connsiteX29" fmla="*/ 274513 w 1145117"/>
              <a:gd name="connsiteY29" fmla="*/ 579547 h 764815"/>
              <a:gd name="connsiteX30" fmla="*/ 228461 w 1145117"/>
              <a:gd name="connsiteY30" fmla="*/ 533500 h 764815"/>
              <a:gd name="connsiteX31" fmla="*/ 110813 w 1145117"/>
              <a:gd name="connsiteY31" fmla="*/ 651136 h 764815"/>
              <a:gd name="connsiteX32" fmla="*/ 274872 w 1145117"/>
              <a:gd name="connsiteY32" fmla="*/ 719847 h 764815"/>
              <a:gd name="connsiteX33" fmla="*/ 505491 w 1145117"/>
              <a:gd name="connsiteY33" fmla="*/ 489611 h 764815"/>
              <a:gd name="connsiteX34" fmla="*/ 274872 w 1145117"/>
              <a:gd name="connsiteY34" fmla="*/ 259016 h 764815"/>
              <a:gd name="connsiteX35" fmla="*/ 526872 w 1145117"/>
              <a:gd name="connsiteY35" fmla="*/ 153987 h 764815"/>
              <a:gd name="connsiteX36" fmla="*/ 542519 w 1145117"/>
              <a:gd name="connsiteY36" fmla="*/ 160388 h 764815"/>
              <a:gd name="connsiteX37" fmla="*/ 548920 w 1145117"/>
              <a:gd name="connsiteY37" fmla="*/ 176034 h 764815"/>
              <a:gd name="connsiteX38" fmla="*/ 542519 w 1145117"/>
              <a:gd name="connsiteY38" fmla="*/ 191681 h 764815"/>
              <a:gd name="connsiteX39" fmla="*/ 526872 w 1145117"/>
              <a:gd name="connsiteY39" fmla="*/ 198081 h 764815"/>
              <a:gd name="connsiteX40" fmla="*/ 511226 w 1145117"/>
              <a:gd name="connsiteY40" fmla="*/ 191681 h 764815"/>
              <a:gd name="connsiteX41" fmla="*/ 504825 w 1145117"/>
              <a:gd name="connsiteY41" fmla="*/ 176034 h 764815"/>
              <a:gd name="connsiteX42" fmla="*/ 511226 w 1145117"/>
              <a:gd name="connsiteY42" fmla="*/ 160388 h 764815"/>
              <a:gd name="connsiteX43" fmla="*/ 526872 w 1145117"/>
              <a:gd name="connsiteY43" fmla="*/ 153987 h 764815"/>
              <a:gd name="connsiteX44" fmla="*/ 572770 w 1145117"/>
              <a:gd name="connsiteY44" fmla="*/ 44608 h 764815"/>
              <a:gd name="connsiteX45" fmla="*/ 534274 w 1145117"/>
              <a:gd name="connsiteY45" fmla="*/ 83461 h 764815"/>
              <a:gd name="connsiteX46" fmla="*/ 511968 w 1145117"/>
              <a:gd name="connsiteY46" fmla="*/ 105765 h 764815"/>
              <a:gd name="connsiteX47" fmla="*/ 304734 w 1145117"/>
              <a:gd name="connsiteY47" fmla="*/ 105765 h 764815"/>
              <a:gd name="connsiteX48" fmla="*/ 215509 w 1145117"/>
              <a:gd name="connsiteY48" fmla="*/ 154690 h 764815"/>
              <a:gd name="connsiteX49" fmla="*/ 161901 w 1145117"/>
              <a:gd name="connsiteY49" fmla="*/ 238510 h 764815"/>
              <a:gd name="connsiteX50" fmla="*/ 274872 w 1145117"/>
              <a:gd name="connsiteY50" fmla="*/ 214407 h 764815"/>
              <a:gd name="connsiteX51" fmla="*/ 505491 w 1145117"/>
              <a:gd name="connsiteY51" fmla="*/ 339238 h 764815"/>
              <a:gd name="connsiteX52" fmla="*/ 505491 w 1145117"/>
              <a:gd name="connsiteY52" fmla="*/ 252540 h 764815"/>
              <a:gd name="connsiteX53" fmla="*/ 527798 w 1145117"/>
              <a:gd name="connsiteY53" fmla="*/ 230236 h 764815"/>
              <a:gd name="connsiteX54" fmla="*/ 550104 w 1145117"/>
              <a:gd name="connsiteY54" fmla="*/ 252540 h 764815"/>
              <a:gd name="connsiteX55" fmla="*/ 550104 w 1145117"/>
              <a:gd name="connsiteY55" fmla="*/ 489611 h 764815"/>
              <a:gd name="connsiteX56" fmla="*/ 550104 w 1145117"/>
              <a:gd name="connsiteY56" fmla="*/ 492130 h 764815"/>
              <a:gd name="connsiteX57" fmla="*/ 572411 w 1145117"/>
              <a:gd name="connsiteY57" fmla="*/ 488892 h 764815"/>
              <a:gd name="connsiteX58" fmla="*/ 595077 w 1145117"/>
              <a:gd name="connsiteY58" fmla="*/ 492130 h 764815"/>
              <a:gd name="connsiteX59" fmla="*/ 595077 w 1145117"/>
              <a:gd name="connsiteY59" fmla="*/ 489611 h 764815"/>
              <a:gd name="connsiteX60" fmla="*/ 595077 w 1145117"/>
              <a:gd name="connsiteY60" fmla="*/ 176634 h 764815"/>
              <a:gd name="connsiteX61" fmla="*/ 617023 w 1145117"/>
              <a:gd name="connsiteY61" fmla="*/ 154330 h 764815"/>
              <a:gd name="connsiteX62" fmla="*/ 639689 w 1145117"/>
              <a:gd name="connsiteY62" fmla="*/ 176634 h 764815"/>
              <a:gd name="connsiteX63" fmla="*/ 639689 w 1145117"/>
              <a:gd name="connsiteY63" fmla="*/ 338879 h 764815"/>
              <a:gd name="connsiteX64" fmla="*/ 675308 w 1145117"/>
              <a:gd name="connsiteY64" fmla="*/ 294990 h 764815"/>
              <a:gd name="connsiteX65" fmla="*/ 982920 w 1145117"/>
              <a:gd name="connsiteY65" fmla="*/ 238510 h 764815"/>
              <a:gd name="connsiteX66" fmla="*/ 929313 w 1145117"/>
              <a:gd name="connsiteY66" fmla="*/ 154690 h 764815"/>
              <a:gd name="connsiteX67" fmla="*/ 840087 w 1145117"/>
              <a:gd name="connsiteY67" fmla="*/ 105765 h 764815"/>
              <a:gd name="connsiteX68" fmla="*/ 633573 w 1145117"/>
              <a:gd name="connsiteY68" fmla="*/ 105765 h 764815"/>
              <a:gd name="connsiteX69" fmla="*/ 611267 w 1145117"/>
              <a:gd name="connsiteY69" fmla="*/ 83461 h 764815"/>
              <a:gd name="connsiteX70" fmla="*/ 572770 w 1145117"/>
              <a:gd name="connsiteY70" fmla="*/ 44608 h 764815"/>
              <a:gd name="connsiteX71" fmla="*/ 572770 w 1145117"/>
              <a:gd name="connsiteY71" fmla="*/ 0 h 764815"/>
              <a:gd name="connsiteX72" fmla="*/ 653001 w 1145117"/>
              <a:gd name="connsiteY72" fmla="*/ 61156 h 764815"/>
              <a:gd name="connsiteX73" fmla="*/ 840087 w 1145117"/>
              <a:gd name="connsiteY73" fmla="*/ 61156 h 764815"/>
              <a:gd name="connsiteX74" fmla="*/ 967090 w 1145117"/>
              <a:gd name="connsiteY74" fmla="*/ 130587 h 764815"/>
              <a:gd name="connsiteX75" fmla="*/ 1099129 w 1145117"/>
              <a:gd name="connsiteY75" fmla="*/ 337440 h 764815"/>
              <a:gd name="connsiteX76" fmla="*/ 1102367 w 1145117"/>
              <a:gd name="connsiteY76" fmla="*/ 342476 h 764815"/>
              <a:gd name="connsiteX77" fmla="*/ 1105965 w 1145117"/>
              <a:gd name="connsiteY77" fmla="*/ 347513 h 764815"/>
              <a:gd name="connsiteX78" fmla="*/ 1107044 w 1145117"/>
              <a:gd name="connsiteY78" fmla="*/ 350031 h 764815"/>
              <a:gd name="connsiteX79" fmla="*/ 1142302 w 1145117"/>
              <a:gd name="connsiteY79" fmla="*/ 450040 h 764815"/>
              <a:gd name="connsiteX80" fmla="*/ 1113520 w 1145117"/>
              <a:gd name="connsiteY80" fmla="*/ 617680 h 764815"/>
              <a:gd name="connsiteX81" fmla="*/ 1083299 w 1145117"/>
              <a:gd name="connsiteY81" fmla="*/ 627033 h 764815"/>
              <a:gd name="connsiteX82" fmla="*/ 1073944 w 1145117"/>
              <a:gd name="connsiteY82" fmla="*/ 596815 h 764815"/>
              <a:gd name="connsiteX83" fmla="*/ 1067108 w 1145117"/>
              <a:gd name="connsiteY83" fmla="*/ 369817 h 764815"/>
              <a:gd name="connsiteX84" fmla="*/ 1062071 w 1145117"/>
              <a:gd name="connsiteY84" fmla="*/ 361902 h 764815"/>
              <a:gd name="connsiteX85" fmla="*/ 1032929 w 1145117"/>
              <a:gd name="connsiteY85" fmla="*/ 326647 h 764815"/>
              <a:gd name="connsiteX86" fmla="*/ 707328 w 1145117"/>
              <a:gd name="connsiteY86" fmla="*/ 326647 h 764815"/>
              <a:gd name="connsiteX87" fmla="*/ 675308 w 1145117"/>
              <a:gd name="connsiteY87" fmla="*/ 613003 h 764815"/>
              <a:gd name="connsiteX88" fmla="*/ 802670 w 1145117"/>
              <a:gd name="connsiteY88" fmla="*/ 486014 h 764815"/>
              <a:gd name="connsiteX89" fmla="*/ 833971 w 1145117"/>
              <a:gd name="connsiteY89" fmla="*/ 486014 h 764815"/>
              <a:gd name="connsiteX90" fmla="*/ 880023 w 1145117"/>
              <a:gd name="connsiteY90" fmla="*/ 532061 h 764815"/>
              <a:gd name="connsiteX91" fmla="*/ 931471 w 1145117"/>
              <a:gd name="connsiteY91" fmla="*/ 480618 h 764815"/>
              <a:gd name="connsiteX92" fmla="*/ 915281 w 1145117"/>
              <a:gd name="connsiteY92" fmla="*/ 459033 h 764815"/>
              <a:gd name="connsiteX93" fmla="*/ 937588 w 1145117"/>
              <a:gd name="connsiteY93" fmla="*/ 436729 h 764815"/>
              <a:gd name="connsiteX94" fmla="*/ 984719 w 1145117"/>
              <a:gd name="connsiteY94" fmla="*/ 436729 h 764815"/>
              <a:gd name="connsiteX95" fmla="*/ 1007385 w 1145117"/>
              <a:gd name="connsiteY95" fmla="*/ 459033 h 764815"/>
              <a:gd name="connsiteX96" fmla="*/ 1007385 w 1145117"/>
              <a:gd name="connsiteY96" fmla="*/ 506519 h 764815"/>
              <a:gd name="connsiteX97" fmla="*/ 984719 w 1145117"/>
              <a:gd name="connsiteY97" fmla="*/ 528823 h 764815"/>
              <a:gd name="connsiteX98" fmla="*/ 963132 w 1145117"/>
              <a:gd name="connsiteY98" fmla="*/ 512275 h 764815"/>
              <a:gd name="connsiteX99" fmla="*/ 895853 w 1145117"/>
              <a:gd name="connsiteY99" fmla="*/ 579547 h 764815"/>
              <a:gd name="connsiteX100" fmla="*/ 880023 w 1145117"/>
              <a:gd name="connsiteY100" fmla="*/ 586382 h 764815"/>
              <a:gd name="connsiteX101" fmla="*/ 864552 w 1145117"/>
              <a:gd name="connsiteY101" fmla="*/ 579547 h 764815"/>
              <a:gd name="connsiteX102" fmla="*/ 818140 w 1145117"/>
              <a:gd name="connsiteY102" fmla="*/ 533500 h 764815"/>
              <a:gd name="connsiteX103" fmla="*/ 703371 w 1145117"/>
              <a:gd name="connsiteY103" fmla="*/ 648618 h 764815"/>
              <a:gd name="connsiteX104" fmla="*/ 707328 w 1145117"/>
              <a:gd name="connsiteY104" fmla="*/ 652216 h 764815"/>
              <a:gd name="connsiteX105" fmla="*/ 971407 w 1145117"/>
              <a:gd name="connsiteY105" fmla="*/ 696464 h 764815"/>
              <a:gd name="connsiteX106" fmla="*/ 1001628 w 1145117"/>
              <a:gd name="connsiteY106" fmla="*/ 706537 h 764815"/>
              <a:gd name="connsiteX107" fmla="*/ 991555 w 1145117"/>
              <a:gd name="connsiteY107" fmla="*/ 736396 h 764815"/>
              <a:gd name="connsiteX108" fmla="*/ 869949 w 1145117"/>
              <a:gd name="connsiteY108" fmla="*/ 764815 h 764815"/>
              <a:gd name="connsiteX109" fmla="*/ 675308 w 1145117"/>
              <a:gd name="connsiteY109" fmla="*/ 684233 h 764815"/>
              <a:gd name="connsiteX110" fmla="*/ 626737 w 1145117"/>
              <a:gd name="connsiteY110" fmla="*/ 618040 h 764815"/>
              <a:gd name="connsiteX111" fmla="*/ 572411 w 1145117"/>
              <a:gd name="connsiteY111" fmla="*/ 640704 h 764815"/>
              <a:gd name="connsiteX112" fmla="*/ 518444 w 1145117"/>
              <a:gd name="connsiteY112" fmla="*/ 618040 h 764815"/>
              <a:gd name="connsiteX113" fmla="*/ 274872 w 1145117"/>
              <a:gd name="connsiteY113" fmla="*/ 764456 h 764815"/>
              <a:gd name="connsiteX114" fmla="*/ 0 w 1145117"/>
              <a:gd name="connsiteY114" fmla="*/ 489611 h 764815"/>
              <a:gd name="connsiteX115" fmla="*/ 37417 w 1145117"/>
              <a:gd name="connsiteY115" fmla="*/ 350750 h 764815"/>
              <a:gd name="connsiteX116" fmla="*/ 38857 w 1145117"/>
              <a:gd name="connsiteY116" fmla="*/ 347513 h 764815"/>
              <a:gd name="connsiteX117" fmla="*/ 178091 w 1145117"/>
              <a:gd name="connsiteY117" fmla="*/ 130587 h 764815"/>
              <a:gd name="connsiteX118" fmla="*/ 304734 w 1145117"/>
              <a:gd name="connsiteY118" fmla="*/ 61156 h 764815"/>
              <a:gd name="connsiteX119" fmla="*/ 492539 w 1145117"/>
              <a:gd name="connsiteY119" fmla="*/ 61156 h 764815"/>
              <a:gd name="connsiteX120" fmla="*/ 572770 w 1145117"/>
              <a:gd name="connsiteY120" fmla="*/ 0 h 76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145117" h="764815">
                <a:moveTo>
                  <a:pt x="1048678" y="645265"/>
                </a:moveTo>
                <a:cubicBezTo>
                  <a:pt x="1054339" y="645354"/>
                  <a:pt x="1059955" y="647592"/>
                  <a:pt x="1064235" y="651889"/>
                </a:cubicBezTo>
                <a:cubicBezTo>
                  <a:pt x="1072794" y="660483"/>
                  <a:pt x="1072794" y="674806"/>
                  <a:pt x="1063878" y="683400"/>
                </a:cubicBezTo>
                <a:cubicBezTo>
                  <a:pt x="1059599" y="687697"/>
                  <a:pt x="1053893" y="690204"/>
                  <a:pt x="1048187" y="690204"/>
                </a:cubicBezTo>
                <a:cubicBezTo>
                  <a:pt x="1042481" y="690204"/>
                  <a:pt x="1036775" y="688055"/>
                  <a:pt x="1032496" y="683758"/>
                </a:cubicBezTo>
                <a:cubicBezTo>
                  <a:pt x="1023937" y="675165"/>
                  <a:pt x="1023937" y="661199"/>
                  <a:pt x="1032496" y="652247"/>
                </a:cubicBezTo>
                <a:lnTo>
                  <a:pt x="1032853" y="651531"/>
                </a:lnTo>
                <a:cubicBezTo>
                  <a:pt x="1037311" y="647234"/>
                  <a:pt x="1043016" y="645175"/>
                  <a:pt x="1048678" y="645265"/>
                </a:cubicBezTo>
                <a:close/>
                <a:moveTo>
                  <a:pt x="572411" y="533500"/>
                </a:moveTo>
                <a:cubicBezTo>
                  <a:pt x="555141" y="533500"/>
                  <a:pt x="541110" y="547530"/>
                  <a:pt x="541110" y="564798"/>
                </a:cubicBezTo>
                <a:cubicBezTo>
                  <a:pt x="541110" y="582066"/>
                  <a:pt x="555141" y="596096"/>
                  <a:pt x="572411" y="596096"/>
                </a:cubicBezTo>
                <a:cubicBezTo>
                  <a:pt x="589680" y="596096"/>
                  <a:pt x="603711" y="582066"/>
                  <a:pt x="603711" y="564798"/>
                </a:cubicBezTo>
                <a:cubicBezTo>
                  <a:pt x="603711" y="547530"/>
                  <a:pt x="589680" y="533500"/>
                  <a:pt x="572411" y="533500"/>
                </a:cubicBezTo>
                <a:close/>
                <a:moveTo>
                  <a:pt x="274872" y="259016"/>
                </a:moveTo>
                <a:cubicBezTo>
                  <a:pt x="147870" y="259016"/>
                  <a:pt x="44613" y="362622"/>
                  <a:pt x="44613" y="489611"/>
                </a:cubicBezTo>
                <a:cubicBezTo>
                  <a:pt x="44613" y="536018"/>
                  <a:pt x="58644" y="579907"/>
                  <a:pt x="82390" y="616241"/>
                </a:cubicBezTo>
                <a:lnTo>
                  <a:pt x="212630" y="486014"/>
                </a:lnTo>
                <a:cubicBezTo>
                  <a:pt x="216948" y="481697"/>
                  <a:pt x="222704" y="479539"/>
                  <a:pt x="228461" y="479539"/>
                </a:cubicBezTo>
                <a:cubicBezTo>
                  <a:pt x="234577" y="479539"/>
                  <a:pt x="239974" y="481697"/>
                  <a:pt x="244291" y="486014"/>
                </a:cubicBezTo>
                <a:lnTo>
                  <a:pt x="290343" y="532061"/>
                </a:lnTo>
                <a:lnTo>
                  <a:pt x="342151" y="480618"/>
                </a:lnTo>
                <a:cubicBezTo>
                  <a:pt x="332437" y="478100"/>
                  <a:pt x="325242" y="469466"/>
                  <a:pt x="325242" y="459033"/>
                </a:cubicBezTo>
                <a:cubicBezTo>
                  <a:pt x="325242" y="446802"/>
                  <a:pt x="335315" y="436729"/>
                  <a:pt x="347908" y="436729"/>
                </a:cubicBezTo>
                <a:lnTo>
                  <a:pt x="395039" y="436729"/>
                </a:lnTo>
                <a:cubicBezTo>
                  <a:pt x="407631" y="436729"/>
                  <a:pt x="417345" y="446802"/>
                  <a:pt x="417345" y="459033"/>
                </a:cubicBezTo>
                <a:lnTo>
                  <a:pt x="417345" y="506519"/>
                </a:lnTo>
                <a:cubicBezTo>
                  <a:pt x="417345" y="518751"/>
                  <a:pt x="407631" y="528823"/>
                  <a:pt x="395039" y="528823"/>
                </a:cubicBezTo>
                <a:cubicBezTo>
                  <a:pt x="384965" y="528823"/>
                  <a:pt x="375971" y="521629"/>
                  <a:pt x="373452" y="512275"/>
                </a:cubicBezTo>
                <a:lnTo>
                  <a:pt x="306173" y="579547"/>
                </a:lnTo>
                <a:cubicBezTo>
                  <a:pt x="297538" y="588181"/>
                  <a:pt x="283147" y="588181"/>
                  <a:pt x="274513" y="579547"/>
                </a:cubicBezTo>
                <a:lnTo>
                  <a:pt x="228461" y="533500"/>
                </a:lnTo>
                <a:lnTo>
                  <a:pt x="110813" y="651136"/>
                </a:lnTo>
                <a:cubicBezTo>
                  <a:pt x="152547" y="693586"/>
                  <a:pt x="210831" y="719847"/>
                  <a:pt x="274872" y="719847"/>
                </a:cubicBezTo>
                <a:cubicBezTo>
                  <a:pt x="402235" y="719847"/>
                  <a:pt x="505491" y="616601"/>
                  <a:pt x="505491" y="489611"/>
                </a:cubicBezTo>
                <a:cubicBezTo>
                  <a:pt x="505491" y="362622"/>
                  <a:pt x="402235" y="259016"/>
                  <a:pt x="274872" y="259016"/>
                </a:cubicBezTo>
                <a:close/>
                <a:moveTo>
                  <a:pt x="526872" y="153987"/>
                </a:moveTo>
                <a:cubicBezTo>
                  <a:pt x="532562" y="153987"/>
                  <a:pt x="538252" y="156476"/>
                  <a:pt x="542519" y="160388"/>
                </a:cubicBezTo>
                <a:cubicBezTo>
                  <a:pt x="546430" y="164299"/>
                  <a:pt x="548920" y="170345"/>
                  <a:pt x="548920" y="176034"/>
                </a:cubicBezTo>
                <a:cubicBezTo>
                  <a:pt x="548920" y="181724"/>
                  <a:pt x="546430" y="187769"/>
                  <a:pt x="542519" y="191681"/>
                </a:cubicBezTo>
                <a:cubicBezTo>
                  <a:pt x="538252" y="195948"/>
                  <a:pt x="532562" y="198081"/>
                  <a:pt x="526872" y="198081"/>
                </a:cubicBezTo>
                <a:cubicBezTo>
                  <a:pt x="521183" y="198081"/>
                  <a:pt x="515493" y="195948"/>
                  <a:pt x="511226" y="191681"/>
                </a:cubicBezTo>
                <a:cubicBezTo>
                  <a:pt x="506959" y="187769"/>
                  <a:pt x="504825" y="181724"/>
                  <a:pt x="504825" y="176034"/>
                </a:cubicBezTo>
                <a:cubicBezTo>
                  <a:pt x="504825" y="170345"/>
                  <a:pt x="506959" y="164299"/>
                  <a:pt x="511226" y="160388"/>
                </a:cubicBezTo>
                <a:cubicBezTo>
                  <a:pt x="515493" y="156476"/>
                  <a:pt x="521183" y="153987"/>
                  <a:pt x="526872" y="153987"/>
                </a:cubicBezTo>
                <a:close/>
                <a:moveTo>
                  <a:pt x="572770" y="44608"/>
                </a:moveTo>
                <a:cubicBezTo>
                  <a:pt x="551543" y="44608"/>
                  <a:pt x="534274" y="61876"/>
                  <a:pt x="534274" y="83461"/>
                </a:cubicBezTo>
                <a:cubicBezTo>
                  <a:pt x="534274" y="95692"/>
                  <a:pt x="524200" y="105765"/>
                  <a:pt x="511968" y="105765"/>
                </a:cubicBezTo>
                <a:lnTo>
                  <a:pt x="304734" y="105765"/>
                </a:lnTo>
                <a:cubicBezTo>
                  <a:pt x="268396" y="105765"/>
                  <a:pt x="235297" y="124112"/>
                  <a:pt x="215509" y="154690"/>
                </a:cubicBezTo>
                <a:lnTo>
                  <a:pt x="161901" y="238510"/>
                </a:lnTo>
                <a:cubicBezTo>
                  <a:pt x="196440" y="223041"/>
                  <a:pt x="234577" y="214407"/>
                  <a:pt x="274872" y="214407"/>
                </a:cubicBezTo>
                <a:cubicBezTo>
                  <a:pt x="371293" y="214407"/>
                  <a:pt x="456202" y="264412"/>
                  <a:pt x="505491" y="339238"/>
                </a:cubicBezTo>
                <a:lnTo>
                  <a:pt x="505491" y="252540"/>
                </a:lnTo>
                <a:cubicBezTo>
                  <a:pt x="505491" y="240309"/>
                  <a:pt x="515206" y="230236"/>
                  <a:pt x="527798" y="230236"/>
                </a:cubicBezTo>
                <a:cubicBezTo>
                  <a:pt x="540030" y="230236"/>
                  <a:pt x="550104" y="240309"/>
                  <a:pt x="550104" y="252540"/>
                </a:cubicBezTo>
                <a:lnTo>
                  <a:pt x="550104" y="489611"/>
                </a:lnTo>
                <a:cubicBezTo>
                  <a:pt x="550104" y="490331"/>
                  <a:pt x="550104" y="491050"/>
                  <a:pt x="550104" y="492130"/>
                </a:cubicBezTo>
                <a:cubicBezTo>
                  <a:pt x="556940" y="489971"/>
                  <a:pt x="564855" y="488892"/>
                  <a:pt x="572411" y="488892"/>
                </a:cubicBezTo>
                <a:cubicBezTo>
                  <a:pt x="580326" y="488892"/>
                  <a:pt x="587881" y="489971"/>
                  <a:pt x="595077" y="492130"/>
                </a:cubicBezTo>
                <a:cubicBezTo>
                  <a:pt x="595077" y="491050"/>
                  <a:pt x="595077" y="490331"/>
                  <a:pt x="595077" y="489611"/>
                </a:cubicBezTo>
                <a:lnTo>
                  <a:pt x="595077" y="176634"/>
                </a:lnTo>
                <a:cubicBezTo>
                  <a:pt x="595077" y="164403"/>
                  <a:pt x="604791" y="154330"/>
                  <a:pt x="617023" y="154330"/>
                </a:cubicBezTo>
                <a:cubicBezTo>
                  <a:pt x="629616" y="154330"/>
                  <a:pt x="639689" y="164403"/>
                  <a:pt x="639689" y="176634"/>
                </a:cubicBezTo>
                <a:lnTo>
                  <a:pt x="639689" y="338879"/>
                </a:lnTo>
                <a:cubicBezTo>
                  <a:pt x="649763" y="323410"/>
                  <a:pt x="661636" y="308660"/>
                  <a:pt x="675308" y="294990"/>
                </a:cubicBezTo>
                <a:cubicBezTo>
                  <a:pt x="758417" y="211889"/>
                  <a:pt x="881822" y="193182"/>
                  <a:pt x="982920" y="238510"/>
                </a:cubicBezTo>
                <a:lnTo>
                  <a:pt x="929313" y="154690"/>
                </a:lnTo>
                <a:cubicBezTo>
                  <a:pt x="909884" y="124112"/>
                  <a:pt x="876425" y="105765"/>
                  <a:pt x="840087" y="105765"/>
                </a:cubicBezTo>
                <a:lnTo>
                  <a:pt x="633573" y="105765"/>
                </a:lnTo>
                <a:cubicBezTo>
                  <a:pt x="621341" y="105765"/>
                  <a:pt x="611267" y="95692"/>
                  <a:pt x="611267" y="83461"/>
                </a:cubicBezTo>
                <a:cubicBezTo>
                  <a:pt x="611267" y="61876"/>
                  <a:pt x="593997" y="44608"/>
                  <a:pt x="572770" y="44608"/>
                </a:cubicBezTo>
                <a:close/>
                <a:moveTo>
                  <a:pt x="572770" y="0"/>
                </a:moveTo>
                <a:cubicBezTo>
                  <a:pt x="610907" y="0"/>
                  <a:pt x="643287" y="25902"/>
                  <a:pt x="653001" y="61156"/>
                </a:cubicBezTo>
                <a:lnTo>
                  <a:pt x="840087" y="61156"/>
                </a:lnTo>
                <a:cubicBezTo>
                  <a:pt x="891895" y="61156"/>
                  <a:pt x="939027" y="87058"/>
                  <a:pt x="967090" y="130587"/>
                </a:cubicBezTo>
                <a:lnTo>
                  <a:pt x="1099129" y="337440"/>
                </a:lnTo>
                <a:cubicBezTo>
                  <a:pt x="1100568" y="338879"/>
                  <a:pt x="1101647" y="340677"/>
                  <a:pt x="1102367" y="342476"/>
                </a:cubicBezTo>
                <a:lnTo>
                  <a:pt x="1105965" y="347513"/>
                </a:lnTo>
                <a:cubicBezTo>
                  <a:pt x="1106324" y="348592"/>
                  <a:pt x="1107044" y="349311"/>
                  <a:pt x="1107044" y="350031"/>
                </a:cubicBezTo>
                <a:cubicBezTo>
                  <a:pt x="1125033" y="380249"/>
                  <a:pt x="1137266" y="414425"/>
                  <a:pt x="1142302" y="450040"/>
                </a:cubicBezTo>
                <a:cubicBezTo>
                  <a:pt x="1150577" y="507239"/>
                  <a:pt x="1140504" y="566956"/>
                  <a:pt x="1113520" y="617680"/>
                </a:cubicBezTo>
                <a:cubicBezTo>
                  <a:pt x="1107764" y="628472"/>
                  <a:pt x="1094452" y="632789"/>
                  <a:pt x="1083299" y="627033"/>
                </a:cubicBezTo>
                <a:cubicBezTo>
                  <a:pt x="1072505" y="620918"/>
                  <a:pt x="1068188" y="607607"/>
                  <a:pt x="1073944" y="596815"/>
                </a:cubicBezTo>
                <a:cubicBezTo>
                  <a:pt x="1112441" y="523427"/>
                  <a:pt x="1108483" y="437808"/>
                  <a:pt x="1067108" y="369817"/>
                </a:cubicBezTo>
                <a:lnTo>
                  <a:pt x="1062071" y="361902"/>
                </a:lnTo>
                <a:cubicBezTo>
                  <a:pt x="1053797" y="349671"/>
                  <a:pt x="1044082" y="337440"/>
                  <a:pt x="1032929" y="326647"/>
                </a:cubicBezTo>
                <a:cubicBezTo>
                  <a:pt x="942984" y="236711"/>
                  <a:pt x="796913" y="236711"/>
                  <a:pt x="707328" y="326647"/>
                </a:cubicBezTo>
                <a:cubicBezTo>
                  <a:pt x="629256" y="404352"/>
                  <a:pt x="618822" y="524147"/>
                  <a:pt x="675308" y="613003"/>
                </a:cubicBezTo>
                <a:lnTo>
                  <a:pt x="802670" y="486014"/>
                </a:lnTo>
                <a:cubicBezTo>
                  <a:pt x="810945" y="477380"/>
                  <a:pt x="825336" y="477380"/>
                  <a:pt x="833971" y="486014"/>
                </a:cubicBezTo>
                <a:lnTo>
                  <a:pt x="880023" y="532061"/>
                </a:lnTo>
                <a:lnTo>
                  <a:pt x="931471" y="480618"/>
                </a:lnTo>
                <a:cubicBezTo>
                  <a:pt x="922117" y="478100"/>
                  <a:pt x="915281" y="469466"/>
                  <a:pt x="915281" y="459033"/>
                </a:cubicBezTo>
                <a:cubicBezTo>
                  <a:pt x="915281" y="446802"/>
                  <a:pt x="925355" y="436729"/>
                  <a:pt x="937588" y="436729"/>
                </a:cubicBezTo>
                <a:lnTo>
                  <a:pt x="984719" y="436729"/>
                </a:lnTo>
                <a:cubicBezTo>
                  <a:pt x="997311" y="436729"/>
                  <a:pt x="1007385" y="446802"/>
                  <a:pt x="1007385" y="459033"/>
                </a:cubicBezTo>
                <a:lnTo>
                  <a:pt x="1007385" y="506519"/>
                </a:lnTo>
                <a:cubicBezTo>
                  <a:pt x="1007385" y="518751"/>
                  <a:pt x="997311" y="528823"/>
                  <a:pt x="984719" y="528823"/>
                </a:cubicBezTo>
                <a:cubicBezTo>
                  <a:pt x="974285" y="528823"/>
                  <a:pt x="965650" y="521629"/>
                  <a:pt x="963132" y="512275"/>
                </a:cubicBezTo>
                <a:lnTo>
                  <a:pt x="895853" y="579547"/>
                </a:lnTo>
                <a:cubicBezTo>
                  <a:pt x="891536" y="583864"/>
                  <a:pt x="886139" y="586382"/>
                  <a:pt x="880023" y="586382"/>
                </a:cubicBezTo>
                <a:cubicBezTo>
                  <a:pt x="873906" y="586382"/>
                  <a:pt x="868510" y="583864"/>
                  <a:pt x="864552" y="579547"/>
                </a:cubicBezTo>
                <a:lnTo>
                  <a:pt x="818140" y="533500"/>
                </a:lnTo>
                <a:lnTo>
                  <a:pt x="703371" y="648618"/>
                </a:lnTo>
                <a:cubicBezTo>
                  <a:pt x="704810" y="649697"/>
                  <a:pt x="705529" y="651136"/>
                  <a:pt x="707328" y="652216"/>
                </a:cubicBezTo>
                <a:cubicBezTo>
                  <a:pt x="776766" y="722006"/>
                  <a:pt x="883261" y="739993"/>
                  <a:pt x="971407" y="696464"/>
                </a:cubicBezTo>
                <a:cubicBezTo>
                  <a:pt x="982560" y="690708"/>
                  <a:pt x="995872" y="695385"/>
                  <a:pt x="1001628" y="706537"/>
                </a:cubicBezTo>
                <a:cubicBezTo>
                  <a:pt x="1007025" y="717689"/>
                  <a:pt x="1002348" y="730999"/>
                  <a:pt x="991555" y="736396"/>
                </a:cubicBezTo>
                <a:cubicBezTo>
                  <a:pt x="952698" y="755462"/>
                  <a:pt x="911324" y="764815"/>
                  <a:pt x="869949" y="764815"/>
                </a:cubicBezTo>
                <a:cubicBezTo>
                  <a:pt x="798712" y="764815"/>
                  <a:pt x="728195" y="736755"/>
                  <a:pt x="675308" y="684233"/>
                </a:cubicBezTo>
                <a:cubicBezTo>
                  <a:pt x="655520" y="664087"/>
                  <a:pt x="639330" y="641783"/>
                  <a:pt x="626737" y="618040"/>
                </a:cubicBezTo>
                <a:cubicBezTo>
                  <a:pt x="613066" y="632070"/>
                  <a:pt x="593638" y="640704"/>
                  <a:pt x="572411" y="640704"/>
                </a:cubicBezTo>
                <a:cubicBezTo>
                  <a:pt x="551184" y="640704"/>
                  <a:pt x="532115" y="632070"/>
                  <a:pt x="518444" y="618040"/>
                </a:cubicBezTo>
                <a:cubicBezTo>
                  <a:pt x="472032" y="705098"/>
                  <a:pt x="380288" y="764456"/>
                  <a:pt x="274872" y="764456"/>
                </a:cubicBezTo>
                <a:cubicBezTo>
                  <a:pt x="123405" y="764456"/>
                  <a:pt x="0" y="641063"/>
                  <a:pt x="0" y="489611"/>
                </a:cubicBezTo>
                <a:cubicBezTo>
                  <a:pt x="0" y="438887"/>
                  <a:pt x="13312" y="391761"/>
                  <a:pt x="37417" y="350750"/>
                </a:cubicBezTo>
                <a:cubicBezTo>
                  <a:pt x="38137" y="349671"/>
                  <a:pt x="38497" y="348952"/>
                  <a:pt x="38857" y="347513"/>
                </a:cubicBezTo>
                <a:lnTo>
                  <a:pt x="178091" y="130587"/>
                </a:lnTo>
                <a:cubicBezTo>
                  <a:pt x="205795" y="87058"/>
                  <a:pt x="253286" y="61156"/>
                  <a:pt x="304734" y="61156"/>
                </a:cubicBezTo>
                <a:lnTo>
                  <a:pt x="492539" y="61156"/>
                </a:lnTo>
                <a:cubicBezTo>
                  <a:pt x="502253" y="25902"/>
                  <a:pt x="534634" y="0"/>
                  <a:pt x="572770" y="0"/>
                </a:cubicBezTo>
                <a:close/>
              </a:path>
            </a:pathLst>
          </a:custGeom>
          <a:solidFill>
            <a:schemeClr val="bg2"/>
          </a:solidFill>
          <a:ln>
            <a:noFill/>
          </a:ln>
          <a:effectLst/>
        </p:spPr>
        <p:txBody>
          <a:bodyPr wrap="square" anchor="ctr">
            <a:noAutofit/>
          </a:bodyPr>
          <a:lstStyle/>
          <a:p>
            <a:pPr defTabSz="685846"/>
            <a:endParaRPr lang="en-US" sz="1350" dirty="0">
              <a:solidFill>
                <a:srgbClr val="7F7F7F"/>
              </a:solidFill>
              <a:latin typeface="Lato Light" panose="020F0502020204030203" pitchFamily="34" charset="0"/>
            </a:endParaRPr>
          </a:p>
        </p:txBody>
      </p:sp>
      <p:sp>
        <p:nvSpPr>
          <p:cNvPr id="17" name="Freeform 16">
            <a:extLst>
              <a:ext uri="{FF2B5EF4-FFF2-40B4-BE49-F238E27FC236}">
                <a16:creationId xmlns:a16="http://schemas.microsoft.com/office/drawing/2014/main" id="{39B39919-4F85-9346-9E06-C3BA3E8BAABB}"/>
              </a:ext>
            </a:extLst>
          </p:cNvPr>
          <p:cNvSpPr>
            <a:spLocks noChangeAspect="1" noChangeArrowheads="1"/>
          </p:cNvSpPr>
          <p:nvPr/>
        </p:nvSpPr>
        <p:spPr bwMode="auto">
          <a:xfrm>
            <a:off x="5522019" y="3990208"/>
            <a:ext cx="475298" cy="475908"/>
          </a:xfrm>
          <a:custGeom>
            <a:avLst/>
            <a:gdLst>
              <a:gd name="connsiteX0" fmla="*/ 509588 w 1145140"/>
              <a:gd name="connsiteY0" fmla="*/ 613568 h 1146608"/>
              <a:gd name="connsiteX1" fmla="*/ 525002 w 1145140"/>
              <a:gd name="connsiteY1" fmla="*/ 619969 h 1146608"/>
              <a:gd name="connsiteX2" fmla="*/ 531455 w 1145140"/>
              <a:gd name="connsiteY2" fmla="*/ 635615 h 1146608"/>
              <a:gd name="connsiteX3" fmla="*/ 525002 w 1145140"/>
              <a:gd name="connsiteY3" fmla="*/ 651262 h 1146608"/>
              <a:gd name="connsiteX4" fmla="*/ 509588 w 1145140"/>
              <a:gd name="connsiteY4" fmla="*/ 657663 h 1146608"/>
              <a:gd name="connsiteX5" fmla="*/ 493816 w 1145140"/>
              <a:gd name="connsiteY5" fmla="*/ 651262 h 1146608"/>
              <a:gd name="connsiteX6" fmla="*/ 487363 w 1145140"/>
              <a:gd name="connsiteY6" fmla="*/ 635615 h 1146608"/>
              <a:gd name="connsiteX7" fmla="*/ 493816 w 1145140"/>
              <a:gd name="connsiteY7" fmla="*/ 619969 h 1146608"/>
              <a:gd name="connsiteX8" fmla="*/ 509588 w 1145140"/>
              <a:gd name="connsiteY8" fmla="*/ 613568 h 1146608"/>
              <a:gd name="connsiteX9" fmla="*/ 511833 w 1145140"/>
              <a:gd name="connsiteY9" fmla="*/ 503279 h 1146608"/>
              <a:gd name="connsiteX10" fmla="*/ 382644 w 1145140"/>
              <a:gd name="connsiteY10" fmla="*/ 633188 h 1146608"/>
              <a:gd name="connsiteX11" fmla="*/ 511833 w 1145140"/>
              <a:gd name="connsiteY11" fmla="*/ 763096 h 1146608"/>
              <a:gd name="connsiteX12" fmla="*/ 641741 w 1145140"/>
              <a:gd name="connsiteY12" fmla="*/ 633188 h 1146608"/>
              <a:gd name="connsiteX13" fmla="*/ 617991 w 1145140"/>
              <a:gd name="connsiteY13" fmla="*/ 558697 h 1146608"/>
              <a:gd name="connsiteX14" fmla="*/ 578407 w 1145140"/>
              <a:gd name="connsiteY14" fmla="*/ 598281 h 1146608"/>
              <a:gd name="connsiteX15" fmla="*/ 562573 w 1145140"/>
              <a:gd name="connsiteY15" fmla="*/ 604759 h 1146608"/>
              <a:gd name="connsiteX16" fmla="*/ 546739 w 1145140"/>
              <a:gd name="connsiteY16" fmla="*/ 598281 h 1146608"/>
              <a:gd name="connsiteX17" fmla="*/ 546739 w 1145140"/>
              <a:gd name="connsiteY17" fmla="*/ 566614 h 1146608"/>
              <a:gd name="connsiteX18" fmla="*/ 586683 w 1145140"/>
              <a:gd name="connsiteY18" fmla="*/ 527030 h 1146608"/>
              <a:gd name="connsiteX19" fmla="*/ 511833 w 1145140"/>
              <a:gd name="connsiteY19" fmla="*/ 503279 h 1146608"/>
              <a:gd name="connsiteX20" fmla="*/ 310177 w 1145140"/>
              <a:gd name="connsiteY20" fmla="*/ 407770 h 1146608"/>
              <a:gd name="connsiteX21" fmla="*/ 325982 w 1145140"/>
              <a:gd name="connsiteY21" fmla="*/ 414264 h 1146608"/>
              <a:gd name="connsiteX22" fmla="*/ 325982 w 1145140"/>
              <a:gd name="connsiteY22" fmla="*/ 446014 h 1146608"/>
              <a:gd name="connsiteX23" fmla="*/ 325982 w 1145140"/>
              <a:gd name="connsiteY23" fmla="*/ 446375 h 1146608"/>
              <a:gd name="connsiteX24" fmla="*/ 310177 w 1145140"/>
              <a:gd name="connsiteY24" fmla="*/ 452869 h 1146608"/>
              <a:gd name="connsiteX25" fmla="*/ 294012 w 1145140"/>
              <a:gd name="connsiteY25" fmla="*/ 446375 h 1146608"/>
              <a:gd name="connsiteX26" fmla="*/ 294012 w 1145140"/>
              <a:gd name="connsiteY26" fmla="*/ 414625 h 1146608"/>
              <a:gd name="connsiteX27" fmla="*/ 294371 w 1145140"/>
              <a:gd name="connsiteY27" fmla="*/ 414264 h 1146608"/>
              <a:gd name="connsiteX28" fmla="*/ 310177 w 1145140"/>
              <a:gd name="connsiteY28" fmla="*/ 407770 h 1146608"/>
              <a:gd name="connsiteX29" fmla="*/ 999799 w 1145140"/>
              <a:gd name="connsiteY29" fmla="*/ 176890 h 1146608"/>
              <a:gd name="connsiteX30" fmla="*/ 877447 w 1145140"/>
              <a:gd name="connsiteY30" fmla="*/ 299241 h 1146608"/>
              <a:gd name="connsiteX31" fmla="*/ 814472 w 1145140"/>
              <a:gd name="connsiteY31" fmla="*/ 362216 h 1146608"/>
              <a:gd name="connsiteX32" fmla="*/ 950498 w 1145140"/>
              <a:gd name="connsiteY32" fmla="*/ 362216 h 1146608"/>
              <a:gd name="connsiteX33" fmla="*/ 1093001 w 1145140"/>
              <a:gd name="connsiteY33" fmla="*/ 219713 h 1146608"/>
              <a:gd name="connsiteX34" fmla="*/ 1098039 w 1145140"/>
              <a:gd name="connsiteY34" fmla="*/ 192364 h 1146608"/>
              <a:gd name="connsiteX35" fmla="*/ 1075368 w 1145140"/>
              <a:gd name="connsiteY35" fmla="*/ 176890 h 1146608"/>
              <a:gd name="connsiteX36" fmla="*/ 444862 w 1145140"/>
              <a:gd name="connsiteY36" fmla="*/ 121443 h 1146608"/>
              <a:gd name="connsiteX37" fmla="*/ 579942 w 1145140"/>
              <a:gd name="connsiteY37" fmla="*/ 121443 h 1146608"/>
              <a:gd name="connsiteX38" fmla="*/ 622447 w 1145140"/>
              <a:gd name="connsiteY38" fmla="*/ 163918 h 1146608"/>
              <a:gd name="connsiteX39" fmla="*/ 622447 w 1145140"/>
              <a:gd name="connsiteY39" fmla="*/ 220792 h 1146608"/>
              <a:gd name="connsiteX40" fmla="*/ 655947 w 1145140"/>
              <a:gd name="connsiteY40" fmla="*/ 230870 h 1146608"/>
              <a:gd name="connsiteX41" fmla="*/ 669275 w 1145140"/>
              <a:gd name="connsiteY41" fmla="*/ 259667 h 1146608"/>
              <a:gd name="connsiteX42" fmla="*/ 640818 w 1145140"/>
              <a:gd name="connsiteY42" fmla="*/ 273346 h 1146608"/>
              <a:gd name="connsiteX43" fmla="*/ 609120 w 1145140"/>
              <a:gd name="connsiteY43" fmla="*/ 263627 h 1146608"/>
              <a:gd name="connsiteX44" fmla="*/ 577421 w 1145140"/>
              <a:gd name="connsiteY44" fmla="*/ 222591 h 1146608"/>
              <a:gd name="connsiteX45" fmla="*/ 577421 w 1145140"/>
              <a:gd name="connsiteY45" fmla="*/ 166438 h 1146608"/>
              <a:gd name="connsiteX46" fmla="*/ 447384 w 1145140"/>
              <a:gd name="connsiteY46" fmla="*/ 166438 h 1146608"/>
              <a:gd name="connsiteX47" fmla="*/ 447384 w 1145140"/>
              <a:gd name="connsiteY47" fmla="*/ 222591 h 1146608"/>
              <a:gd name="connsiteX48" fmla="*/ 415685 w 1145140"/>
              <a:gd name="connsiteY48" fmla="*/ 263627 h 1146608"/>
              <a:gd name="connsiteX49" fmla="*/ 319148 w 1145140"/>
              <a:gd name="connsiteY49" fmla="*/ 303942 h 1146608"/>
              <a:gd name="connsiteX50" fmla="*/ 267998 w 1145140"/>
              <a:gd name="connsiteY50" fmla="*/ 297103 h 1146608"/>
              <a:gd name="connsiteX51" fmla="*/ 228014 w 1145140"/>
              <a:gd name="connsiteY51" fmla="*/ 257148 h 1146608"/>
              <a:gd name="connsiteX52" fmla="*/ 135440 w 1145140"/>
              <a:gd name="connsiteY52" fmla="*/ 349297 h 1146608"/>
              <a:gd name="connsiteX53" fmla="*/ 175783 w 1145140"/>
              <a:gd name="connsiteY53" fmla="*/ 389613 h 1146608"/>
              <a:gd name="connsiteX54" fmla="*/ 182627 w 1145140"/>
              <a:gd name="connsiteY54" fmla="*/ 440727 h 1146608"/>
              <a:gd name="connsiteX55" fmla="*/ 142644 w 1145140"/>
              <a:gd name="connsiteY55" fmla="*/ 537196 h 1146608"/>
              <a:gd name="connsiteX56" fmla="*/ 101580 w 1145140"/>
              <a:gd name="connsiteY56" fmla="*/ 568513 h 1146608"/>
              <a:gd name="connsiteX57" fmla="*/ 44666 w 1145140"/>
              <a:gd name="connsiteY57" fmla="*/ 568513 h 1146608"/>
              <a:gd name="connsiteX58" fmla="*/ 44666 w 1145140"/>
              <a:gd name="connsiteY58" fmla="*/ 699178 h 1146608"/>
              <a:gd name="connsiteX59" fmla="*/ 101580 w 1145140"/>
              <a:gd name="connsiteY59" fmla="*/ 699178 h 1146608"/>
              <a:gd name="connsiteX60" fmla="*/ 142644 w 1145140"/>
              <a:gd name="connsiteY60" fmla="*/ 730495 h 1146608"/>
              <a:gd name="connsiteX61" fmla="*/ 182627 w 1145140"/>
              <a:gd name="connsiteY61" fmla="*/ 826964 h 1146608"/>
              <a:gd name="connsiteX62" fmla="*/ 175783 w 1145140"/>
              <a:gd name="connsiteY62" fmla="*/ 878078 h 1146608"/>
              <a:gd name="connsiteX63" fmla="*/ 135440 w 1145140"/>
              <a:gd name="connsiteY63" fmla="*/ 918394 h 1146608"/>
              <a:gd name="connsiteX64" fmla="*/ 228014 w 1145140"/>
              <a:gd name="connsiteY64" fmla="*/ 1010903 h 1146608"/>
              <a:gd name="connsiteX65" fmla="*/ 268358 w 1145140"/>
              <a:gd name="connsiteY65" fmla="*/ 970228 h 1146608"/>
              <a:gd name="connsiteX66" fmla="*/ 319508 w 1145140"/>
              <a:gd name="connsiteY66" fmla="*/ 963749 h 1146608"/>
              <a:gd name="connsiteX67" fmla="*/ 415685 w 1145140"/>
              <a:gd name="connsiteY67" fmla="*/ 1003704 h 1146608"/>
              <a:gd name="connsiteX68" fmla="*/ 447384 w 1145140"/>
              <a:gd name="connsiteY68" fmla="*/ 1044380 h 1146608"/>
              <a:gd name="connsiteX69" fmla="*/ 447384 w 1145140"/>
              <a:gd name="connsiteY69" fmla="*/ 1101613 h 1146608"/>
              <a:gd name="connsiteX70" fmla="*/ 577781 w 1145140"/>
              <a:gd name="connsiteY70" fmla="*/ 1101613 h 1146608"/>
              <a:gd name="connsiteX71" fmla="*/ 577781 w 1145140"/>
              <a:gd name="connsiteY71" fmla="*/ 1044740 h 1146608"/>
              <a:gd name="connsiteX72" fmla="*/ 609120 w 1145140"/>
              <a:gd name="connsiteY72" fmla="*/ 1003704 h 1146608"/>
              <a:gd name="connsiteX73" fmla="*/ 705657 w 1145140"/>
              <a:gd name="connsiteY73" fmla="*/ 964109 h 1146608"/>
              <a:gd name="connsiteX74" fmla="*/ 756807 w 1145140"/>
              <a:gd name="connsiteY74" fmla="*/ 970588 h 1146608"/>
              <a:gd name="connsiteX75" fmla="*/ 797150 w 1145140"/>
              <a:gd name="connsiteY75" fmla="*/ 1010903 h 1146608"/>
              <a:gd name="connsiteX76" fmla="*/ 889365 w 1145140"/>
              <a:gd name="connsiteY76" fmla="*/ 918394 h 1146608"/>
              <a:gd name="connsiteX77" fmla="*/ 849381 w 1145140"/>
              <a:gd name="connsiteY77" fmla="*/ 878438 h 1146608"/>
              <a:gd name="connsiteX78" fmla="*/ 842897 w 1145140"/>
              <a:gd name="connsiteY78" fmla="*/ 827324 h 1146608"/>
              <a:gd name="connsiteX79" fmla="*/ 882881 w 1145140"/>
              <a:gd name="connsiteY79" fmla="*/ 730495 h 1146608"/>
              <a:gd name="connsiteX80" fmla="*/ 923945 w 1145140"/>
              <a:gd name="connsiteY80" fmla="*/ 699178 h 1146608"/>
              <a:gd name="connsiteX81" fmla="*/ 980138 w 1145140"/>
              <a:gd name="connsiteY81" fmla="*/ 699178 h 1146608"/>
              <a:gd name="connsiteX82" fmla="*/ 980138 w 1145140"/>
              <a:gd name="connsiteY82" fmla="*/ 568513 h 1146608"/>
              <a:gd name="connsiteX83" fmla="*/ 923945 w 1145140"/>
              <a:gd name="connsiteY83" fmla="*/ 568513 h 1146608"/>
              <a:gd name="connsiteX84" fmla="*/ 882881 w 1145140"/>
              <a:gd name="connsiteY84" fmla="*/ 537196 h 1146608"/>
              <a:gd name="connsiteX85" fmla="*/ 873155 w 1145140"/>
              <a:gd name="connsiteY85" fmla="*/ 504800 h 1146608"/>
              <a:gd name="connsiteX86" fmla="*/ 886483 w 1145140"/>
              <a:gd name="connsiteY86" fmla="*/ 476363 h 1146608"/>
              <a:gd name="connsiteX87" fmla="*/ 915300 w 1145140"/>
              <a:gd name="connsiteY87" fmla="*/ 489681 h 1146608"/>
              <a:gd name="connsiteX88" fmla="*/ 925746 w 1145140"/>
              <a:gd name="connsiteY88" fmla="*/ 523878 h 1146608"/>
              <a:gd name="connsiteX89" fmla="*/ 982660 w 1145140"/>
              <a:gd name="connsiteY89" fmla="*/ 523878 h 1146608"/>
              <a:gd name="connsiteX90" fmla="*/ 1025165 w 1145140"/>
              <a:gd name="connsiteY90" fmla="*/ 565993 h 1146608"/>
              <a:gd name="connsiteX91" fmla="*/ 1025165 w 1145140"/>
              <a:gd name="connsiteY91" fmla="*/ 701698 h 1146608"/>
              <a:gd name="connsiteX92" fmla="*/ 982660 w 1145140"/>
              <a:gd name="connsiteY92" fmla="*/ 743813 h 1146608"/>
              <a:gd name="connsiteX93" fmla="*/ 925746 w 1145140"/>
              <a:gd name="connsiteY93" fmla="*/ 743813 h 1146608"/>
              <a:gd name="connsiteX94" fmla="*/ 882521 w 1145140"/>
              <a:gd name="connsiteY94" fmla="*/ 848202 h 1146608"/>
              <a:gd name="connsiteX95" fmla="*/ 922865 w 1145140"/>
              <a:gd name="connsiteY95" fmla="*/ 888517 h 1146608"/>
              <a:gd name="connsiteX96" fmla="*/ 922865 w 1145140"/>
              <a:gd name="connsiteY96" fmla="*/ 948271 h 1146608"/>
              <a:gd name="connsiteX97" fmla="*/ 827048 w 1145140"/>
              <a:gd name="connsiteY97" fmla="*/ 1044020 h 1146608"/>
              <a:gd name="connsiteX98" fmla="*/ 766893 w 1145140"/>
              <a:gd name="connsiteY98" fmla="*/ 1044020 h 1146608"/>
              <a:gd name="connsiteX99" fmla="*/ 726549 w 1145140"/>
              <a:gd name="connsiteY99" fmla="*/ 1003704 h 1146608"/>
              <a:gd name="connsiteX100" fmla="*/ 622447 w 1145140"/>
              <a:gd name="connsiteY100" fmla="*/ 1046539 h 1146608"/>
              <a:gd name="connsiteX101" fmla="*/ 622447 w 1145140"/>
              <a:gd name="connsiteY101" fmla="*/ 1104133 h 1146608"/>
              <a:gd name="connsiteX102" fmla="*/ 579942 w 1145140"/>
              <a:gd name="connsiteY102" fmla="*/ 1146608 h 1146608"/>
              <a:gd name="connsiteX103" fmla="*/ 444862 w 1145140"/>
              <a:gd name="connsiteY103" fmla="*/ 1146608 h 1146608"/>
              <a:gd name="connsiteX104" fmla="*/ 402357 w 1145140"/>
              <a:gd name="connsiteY104" fmla="*/ 1104133 h 1146608"/>
              <a:gd name="connsiteX105" fmla="*/ 402357 w 1145140"/>
              <a:gd name="connsiteY105" fmla="*/ 1046539 h 1146608"/>
              <a:gd name="connsiteX106" fmla="*/ 298616 w 1145140"/>
              <a:gd name="connsiteY106" fmla="*/ 1003344 h 1146608"/>
              <a:gd name="connsiteX107" fmla="*/ 257552 w 1145140"/>
              <a:gd name="connsiteY107" fmla="*/ 1044020 h 1146608"/>
              <a:gd name="connsiteX108" fmla="*/ 197756 w 1145140"/>
              <a:gd name="connsiteY108" fmla="*/ 1044020 h 1146608"/>
              <a:gd name="connsiteX109" fmla="*/ 101940 w 1145140"/>
              <a:gd name="connsiteY109" fmla="*/ 948271 h 1146608"/>
              <a:gd name="connsiteX110" fmla="*/ 101940 w 1145140"/>
              <a:gd name="connsiteY110" fmla="*/ 888517 h 1146608"/>
              <a:gd name="connsiteX111" fmla="*/ 143004 w 1145140"/>
              <a:gd name="connsiteY111" fmla="*/ 847842 h 1146608"/>
              <a:gd name="connsiteX112" fmla="*/ 99779 w 1145140"/>
              <a:gd name="connsiteY112" fmla="*/ 743813 h 1146608"/>
              <a:gd name="connsiteX113" fmla="*/ 42145 w 1145140"/>
              <a:gd name="connsiteY113" fmla="*/ 743813 h 1146608"/>
              <a:gd name="connsiteX114" fmla="*/ 0 w 1145140"/>
              <a:gd name="connsiteY114" fmla="*/ 701698 h 1146608"/>
              <a:gd name="connsiteX115" fmla="*/ 0 w 1145140"/>
              <a:gd name="connsiteY115" fmla="*/ 565993 h 1146608"/>
              <a:gd name="connsiteX116" fmla="*/ 42145 w 1145140"/>
              <a:gd name="connsiteY116" fmla="*/ 523878 h 1146608"/>
              <a:gd name="connsiteX117" fmla="*/ 99779 w 1145140"/>
              <a:gd name="connsiteY117" fmla="*/ 523878 h 1146608"/>
              <a:gd name="connsiteX118" fmla="*/ 142644 w 1145140"/>
              <a:gd name="connsiteY118" fmla="*/ 419849 h 1146608"/>
              <a:gd name="connsiteX119" fmla="*/ 101940 w 1145140"/>
              <a:gd name="connsiteY119" fmla="*/ 379174 h 1146608"/>
              <a:gd name="connsiteX120" fmla="*/ 101940 w 1145140"/>
              <a:gd name="connsiteY120" fmla="*/ 319421 h 1146608"/>
              <a:gd name="connsiteX121" fmla="*/ 197756 w 1145140"/>
              <a:gd name="connsiteY121" fmla="*/ 223671 h 1146608"/>
              <a:gd name="connsiteX122" fmla="*/ 257552 w 1145140"/>
              <a:gd name="connsiteY122" fmla="*/ 223671 h 1146608"/>
              <a:gd name="connsiteX123" fmla="*/ 298256 w 1145140"/>
              <a:gd name="connsiteY123" fmla="*/ 264347 h 1146608"/>
              <a:gd name="connsiteX124" fmla="*/ 402357 w 1145140"/>
              <a:gd name="connsiteY124" fmla="*/ 220792 h 1146608"/>
              <a:gd name="connsiteX125" fmla="*/ 402357 w 1145140"/>
              <a:gd name="connsiteY125" fmla="*/ 163918 h 1146608"/>
              <a:gd name="connsiteX126" fmla="*/ 444862 w 1145140"/>
              <a:gd name="connsiteY126" fmla="*/ 121443 h 1146608"/>
              <a:gd name="connsiteX127" fmla="*/ 941862 w 1145140"/>
              <a:gd name="connsiteY127" fmla="*/ 44823 h 1146608"/>
              <a:gd name="connsiteX128" fmla="*/ 925668 w 1145140"/>
              <a:gd name="connsiteY128" fmla="*/ 52380 h 1146608"/>
              <a:gd name="connsiteX129" fmla="*/ 782805 w 1145140"/>
              <a:gd name="connsiteY129" fmla="*/ 194883 h 1146608"/>
              <a:gd name="connsiteX130" fmla="*/ 782805 w 1145140"/>
              <a:gd name="connsiteY130" fmla="*/ 330548 h 1146608"/>
              <a:gd name="connsiteX131" fmla="*/ 845780 w 1145140"/>
              <a:gd name="connsiteY131" fmla="*/ 267574 h 1146608"/>
              <a:gd name="connsiteX132" fmla="*/ 968131 w 1145140"/>
              <a:gd name="connsiteY132" fmla="*/ 145222 h 1146608"/>
              <a:gd name="connsiteX133" fmla="*/ 968131 w 1145140"/>
              <a:gd name="connsiteY133" fmla="*/ 70013 h 1146608"/>
              <a:gd name="connsiteX134" fmla="*/ 952657 w 1145140"/>
              <a:gd name="connsiteY134" fmla="*/ 46982 h 1146608"/>
              <a:gd name="connsiteX135" fmla="*/ 941862 w 1145140"/>
              <a:gd name="connsiteY135" fmla="*/ 44823 h 1146608"/>
              <a:gd name="connsiteX136" fmla="*/ 929672 w 1145140"/>
              <a:gd name="connsiteY136" fmla="*/ 1280 h 1146608"/>
              <a:gd name="connsiteX137" fmla="*/ 969930 w 1145140"/>
              <a:gd name="connsiteY137" fmla="*/ 5598 h 1146608"/>
              <a:gd name="connsiteX138" fmla="*/ 1012753 w 1145140"/>
              <a:gd name="connsiteY138" fmla="*/ 69653 h 1146608"/>
              <a:gd name="connsiteX139" fmla="*/ 1013113 w 1145140"/>
              <a:gd name="connsiteY139" fmla="*/ 132268 h 1146608"/>
              <a:gd name="connsiteX140" fmla="*/ 1075368 w 1145140"/>
              <a:gd name="connsiteY140" fmla="*/ 132268 h 1146608"/>
              <a:gd name="connsiteX141" fmla="*/ 1139783 w 1145140"/>
              <a:gd name="connsiteY141" fmla="*/ 175450 h 1146608"/>
              <a:gd name="connsiteX142" fmla="*/ 1124669 w 1145140"/>
              <a:gd name="connsiteY142" fmla="*/ 251380 h 1146608"/>
              <a:gd name="connsiteX143" fmla="*/ 975328 w 1145140"/>
              <a:gd name="connsiteY143" fmla="*/ 400720 h 1146608"/>
              <a:gd name="connsiteX144" fmla="*/ 959854 w 1145140"/>
              <a:gd name="connsiteY144" fmla="*/ 407198 h 1146608"/>
              <a:gd name="connsiteX145" fmla="*/ 769490 w 1145140"/>
              <a:gd name="connsiteY145" fmla="*/ 407198 h 1146608"/>
              <a:gd name="connsiteX146" fmla="*/ 745380 w 1145140"/>
              <a:gd name="connsiteY146" fmla="*/ 431308 h 1146608"/>
              <a:gd name="connsiteX147" fmla="*/ 819870 w 1145140"/>
              <a:gd name="connsiteY147" fmla="*/ 610516 h 1146608"/>
              <a:gd name="connsiteX148" fmla="*/ 845780 w 1145140"/>
              <a:gd name="connsiteY148" fmla="*/ 610516 h 1146608"/>
              <a:gd name="connsiteX149" fmla="*/ 868451 w 1145140"/>
              <a:gd name="connsiteY149" fmla="*/ 633188 h 1146608"/>
              <a:gd name="connsiteX150" fmla="*/ 845780 w 1145140"/>
              <a:gd name="connsiteY150" fmla="*/ 655499 h 1146608"/>
              <a:gd name="connsiteX151" fmla="*/ 819870 w 1145140"/>
              <a:gd name="connsiteY151" fmla="*/ 655499 h 1146608"/>
              <a:gd name="connsiteX152" fmla="*/ 730266 w 1145140"/>
              <a:gd name="connsiteY152" fmla="*/ 851261 h 1146608"/>
              <a:gd name="connsiteX153" fmla="*/ 534144 w 1145140"/>
              <a:gd name="connsiteY153" fmla="*/ 941225 h 1146608"/>
              <a:gd name="connsiteX154" fmla="*/ 534144 w 1145140"/>
              <a:gd name="connsiteY154" fmla="*/ 967134 h 1146608"/>
              <a:gd name="connsiteX155" fmla="*/ 511833 w 1145140"/>
              <a:gd name="connsiteY155" fmla="*/ 989445 h 1146608"/>
              <a:gd name="connsiteX156" fmla="*/ 489882 w 1145140"/>
              <a:gd name="connsiteY156" fmla="*/ 967134 h 1146608"/>
              <a:gd name="connsiteX157" fmla="*/ 489882 w 1145140"/>
              <a:gd name="connsiteY157" fmla="*/ 941225 h 1146608"/>
              <a:gd name="connsiteX158" fmla="*/ 293760 w 1145140"/>
              <a:gd name="connsiteY158" fmla="*/ 851261 h 1146608"/>
              <a:gd name="connsiteX159" fmla="*/ 204515 w 1145140"/>
              <a:gd name="connsiteY159" fmla="*/ 655499 h 1146608"/>
              <a:gd name="connsiteX160" fmla="*/ 178246 w 1145140"/>
              <a:gd name="connsiteY160" fmla="*/ 655499 h 1146608"/>
              <a:gd name="connsiteX161" fmla="*/ 155575 w 1145140"/>
              <a:gd name="connsiteY161" fmla="*/ 633188 h 1146608"/>
              <a:gd name="connsiteX162" fmla="*/ 178246 w 1145140"/>
              <a:gd name="connsiteY162" fmla="*/ 610516 h 1146608"/>
              <a:gd name="connsiteX163" fmla="*/ 204515 w 1145140"/>
              <a:gd name="connsiteY163" fmla="*/ 610516 h 1146608"/>
              <a:gd name="connsiteX164" fmla="*/ 233304 w 1145140"/>
              <a:gd name="connsiteY164" fmla="*/ 500760 h 1146608"/>
              <a:gd name="connsiteX165" fmla="*/ 263172 w 1145140"/>
              <a:gd name="connsiteY165" fmla="*/ 489965 h 1146608"/>
              <a:gd name="connsiteX166" fmla="*/ 273608 w 1145140"/>
              <a:gd name="connsiteY166" fmla="*/ 519833 h 1146608"/>
              <a:gd name="connsiteX167" fmla="*/ 249137 w 1145140"/>
              <a:gd name="connsiteY167" fmla="*/ 610516 h 1146608"/>
              <a:gd name="connsiteX168" fmla="*/ 269289 w 1145140"/>
              <a:gd name="connsiteY168" fmla="*/ 610516 h 1146608"/>
              <a:gd name="connsiteX169" fmla="*/ 291601 w 1145140"/>
              <a:gd name="connsiteY169" fmla="*/ 633188 h 1146608"/>
              <a:gd name="connsiteX170" fmla="*/ 269289 w 1145140"/>
              <a:gd name="connsiteY170" fmla="*/ 655499 h 1146608"/>
              <a:gd name="connsiteX171" fmla="*/ 249497 w 1145140"/>
              <a:gd name="connsiteY171" fmla="*/ 655499 h 1146608"/>
              <a:gd name="connsiteX172" fmla="*/ 325787 w 1145140"/>
              <a:gd name="connsiteY172" fmla="*/ 819593 h 1146608"/>
              <a:gd name="connsiteX173" fmla="*/ 489882 w 1145140"/>
              <a:gd name="connsiteY173" fmla="*/ 895883 h 1146608"/>
              <a:gd name="connsiteX174" fmla="*/ 489882 w 1145140"/>
              <a:gd name="connsiteY174" fmla="*/ 876091 h 1146608"/>
              <a:gd name="connsiteX175" fmla="*/ 511833 w 1145140"/>
              <a:gd name="connsiteY175" fmla="*/ 853780 h 1146608"/>
              <a:gd name="connsiteX176" fmla="*/ 534144 w 1145140"/>
              <a:gd name="connsiteY176" fmla="*/ 876091 h 1146608"/>
              <a:gd name="connsiteX177" fmla="*/ 534144 w 1145140"/>
              <a:gd name="connsiteY177" fmla="*/ 895883 h 1146608"/>
              <a:gd name="connsiteX178" fmla="*/ 698599 w 1145140"/>
              <a:gd name="connsiteY178" fmla="*/ 819593 h 1146608"/>
              <a:gd name="connsiteX179" fmla="*/ 774888 w 1145140"/>
              <a:gd name="connsiteY179" fmla="*/ 655499 h 1146608"/>
              <a:gd name="connsiteX180" fmla="*/ 755096 w 1145140"/>
              <a:gd name="connsiteY180" fmla="*/ 655499 h 1146608"/>
              <a:gd name="connsiteX181" fmla="*/ 732785 w 1145140"/>
              <a:gd name="connsiteY181" fmla="*/ 633188 h 1146608"/>
              <a:gd name="connsiteX182" fmla="*/ 755096 w 1145140"/>
              <a:gd name="connsiteY182" fmla="*/ 610516 h 1146608"/>
              <a:gd name="connsiteX183" fmla="*/ 774888 w 1145140"/>
              <a:gd name="connsiteY183" fmla="*/ 610516 h 1146608"/>
              <a:gd name="connsiteX184" fmla="*/ 713713 w 1145140"/>
              <a:gd name="connsiteY184" fmla="*/ 462975 h 1146608"/>
              <a:gd name="connsiteX185" fmla="*/ 650018 w 1145140"/>
              <a:gd name="connsiteY185" fmla="*/ 526670 h 1146608"/>
              <a:gd name="connsiteX186" fmla="*/ 686364 w 1145140"/>
              <a:gd name="connsiteY186" fmla="*/ 633188 h 1146608"/>
              <a:gd name="connsiteX187" fmla="*/ 511833 w 1145140"/>
              <a:gd name="connsiteY187" fmla="*/ 807358 h 1146608"/>
              <a:gd name="connsiteX188" fmla="*/ 337662 w 1145140"/>
              <a:gd name="connsiteY188" fmla="*/ 633188 h 1146608"/>
              <a:gd name="connsiteX189" fmla="*/ 511833 w 1145140"/>
              <a:gd name="connsiteY189" fmla="*/ 458657 h 1146608"/>
              <a:gd name="connsiteX190" fmla="*/ 618351 w 1145140"/>
              <a:gd name="connsiteY190" fmla="*/ 495003 h 1146608"/>
              <a:gd name="connsiteX191" fmla="*/ 682045 w 1145140"/>
              <a:gd name="connsiteY191" fmla="*/ 431308 h 1146608"/>
              <a:gd name="connsiteX192" fmla="*/ 534144 w 1145140"/>
              <a:gd name="connsiteY192" fmla="*/ 370133 h 1146608"/>
              <a:gd name="connsiteX193" fmla="*/ 534144 w 1145140"/>
              <a:gd name="connsiteY193" fmla="*/ 389925 h 1146608"/>
              <a:gd name="connsiteX194" fmla="*/ 511833 w 1145140"/>
              <a:gd name="connsiteY194" fmla="*/ 412236 h 1146608"/>
              <a:gd name="connsiteX195" fmla="*/ 489882 w 1145140"/>
              <a:gd name="connsiteY195" fmla="*/ 389925 h 1146608"/>
              <a:gd name="connsiteX196" fmla="*/ 489882 w 1145140"/>
              <a:gd name="connsiteY196" fmla="*/ 370133 h 1146608"/>
              <a:gd name="connsiteX197" fmla="*/ 395239 w 1145140"/>
              <a:gd name="connsiteY197" fmla="*/ 396042 h 1146608"/>
              <a:gd name="connsiteX198" fmla="*/ 365371 w 1145140"/>
              <a:gd name="connsiteY198" fmla="*/ 385966 h 1146608"/>
              <a:gd name="connsiteX199" fmla="*/ 375447 w 1145140"/>
              <a:gd name="connsiteY199" fmla="*/ 356098 h 1146608"/>
              <a:gd name="connsiteX200" fmla="*/ 489882 w 1145140"/>
              <a:gd name="connsiteY200" fmla="*/ 325151 h 1146608"/>
              <a:gd name="connsiteX201" fmla="*/ 489882 w 1145140"/>
              <a:gd name="connsiteY201" fmla="*/ 298881 h 1146608"/>
              <a:gd name="connsiteX202" fmla="*/ 511833 w 1145140"/>
              <a:gd name="connsiteY202" fmla="*/ 276570 h 1146608"/>
              <a:gd name="connsiteX203" fmla="*/ 534144 w 1145140"/>
              <a:gd name="connsiteY203" fmla="*/ 298881 h 1146608"/>
              <a:gd name="connsiteX204" fmla="*/ 534144 w 1145140"/>
              <a:gd name="connsiteY204" fmla="*/ 325151 h 1146608"/>
              <a:gd name="connsiteX205" fmla="*/ 713713 w 1145140"/>
              <a:gd name="connsiteY205" fmla="*/ 399641 h 1146608"/>
              <a:gd name="connsiteX206" fmla="*/ 738183 w 1145140"/>
              <a:gd name="connsiteY206" fmla="*/ 375530 h 1146608"/>
              <a:gd name="connsiteX207" fmla="*/ 738183 w 1145140"/>
              <a:gd name="connsiteY207" fmla="*/ 185526 h 1146608"/>
              <a:gd name="connsiteX208" fmla="*/ 744660 w 1145140"/>
              <a:gd name="connsiteY208" fmla="*/ 169693 h 1146608"/>
              <a:gd name="connsiteX209" fmla="*/ 894001 w 1145140"/>
              <a:gd name="connsiteY209" fmla="*/ 20712 h 1146608"/>
              <a:gd name="connsiteX210" fmla="*/ 929672 w 1145140"/>
              <a:gd name="connsiteY210" fmla="*/ 1280 h 114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145140" h="1146608">
                <a:moveTo>
                  <a:pt x="509588" y="613568"/>
                </a:moveTo>
                <a:cubicBezTo>
                  <a:pt x="515324" y="613568"/>
                  <a:pt x="521059" y="615702"/>
                  <a:pt x="525002" y="619969"/>
                </a:cubicBezTo>
                <a:cubicBezTo>
                  <a:pt x="529304" y="624236"/>
                  <a:pt x="531455" y="629926"/>
                  <a:pt x="531455" y="635615"/>
                </a:cubicBezTo>
                <a:cubicBezTo>
                  <a:pt x="531455" y="641661"/>
                  <a:pt x="529304" y="646995"/>
                  <a:pt x="525002" y="651262"/>
                </a:cubicBezTo>
                <a:cubicBezTo>
                  <a:pt x="521059" y="655173"/>
                  <a:pt x="515324" y="657663"/>
                  <a:pt x="509588" y="657663"/>
                </a:cubicBezTo>
                <a:cubicBezTo>
                  <a:pt x="503494" y="657663"/>
                  <a:pt x="497759" y="655173"/>
                  <a:pt x="493816" y="651262"/>
                </a:cubicBezTo>
                <a:cubicBezTo>
                  <a:pt x="489873" y="646995"/>
                  <a:pt x="487363" y="641661"/>
                  <a:pt x="487363" y="635615"/>
                </a:cubicBezTo>
                <a:cubicBezTo>
                  <a:pt x="487363" y="629926"/>
                  <a:pt x="489873" y="624236"/>
                  <a:pt x="493816" y="619969"/>
                </a:cubicBezTo>
                <a:cubicBezTo>
                  <a:pt x="497759" y="615702"/>
                  <a:pt x="503494" y="613568"/>
                  <a:pt x="509588" y="613568"/>
                </a:cubicBezTo>
                <a:close/>
                <a:moveTo>
                  <a:pt x="511833" y="503279"/>
                </a:moveTo>
                <a:cubicBezTo>
                  <a:pt x="440581" y="503279"/>
                  <a:pt x="382644" y="561576"/>
                  <a:pt x="382644" y="633188"/>
                </a:cubicBezTo>
                <a:cubicBezTo>
                  <a:pt x="382644" y="704439"/>
                  <a:pt x="440581" y="763096"/>
                  <a:pt x="511833" y="763096"/>
                </a:cubicBezTo>
                <a:cubicBezTo>
                  <a:pt x="583445" y="763096"/>
                  <a:pt x="641741" y="704439"/>
                  <a:pt x="641741" y="633188"/>
                </a:cubicBezTo>
                <a:cubicBezTo>
                  <a:pt x="641741" y="605478"/>
                  <a:pt x="632745" y="579929"/>
                  <a:pt x="617991" y="558697"/>
                </a:cubicBezTo>
                <a:lnTo>
                  <a:pt x="578407" y="598281"/>
                </a:lnTo>
                <a:cubicBezTo>
                  <a:pt x="574088" y="602600"/>
                  <a:pt x="568331" y="604759"/>
                  <a:pt x="562573" y="604759"/>
                </a:cubicBezTo>
                <a:cubicBezTo>
                  <a:pt x="556815" y="604759"/>
                  <a:pt x="551417" y="602600"/>
                  <a:pt x="546739" y="598281"/>
                </a:cubicBezTo>
                <a:cubicBezTo>
                  <a:pt x="538103" y="589645"/>
                  <a:pt x="538103" y="575251"/>
                  <a:pt x="546739" y="566614"/>
                </a:cubicBezTo>
                <a:lnTo>
                  <a:pt x="586683" y="527030"/>
                </a:lnTo>
                <a:cubicBezTo>
                  <a:pt x="565452" y="512276"/>
                  <a:pt x="539542" y="503279"/>
                  <a:pt x="511833" y="503279"/>
                </a:cubicBezTo>
                <a:close/>
                <a:moveTo>
                  <a:pt x="310177" y="407770"/>
                </a:moveTo>
                <a:cubicBezTo>
                  <a:pt x="315924" y="407770"/>
                  <a:pt x="321672" y="409934"/>
                  <a:pt x="325982" y="414264"/>
                </a:cubicBezTo>
                <a:cubicBezTo>
                  <a:pt x="334604" y="423284"/>
                  <a:pt x="334604" y="437355"/>
                  <a:pt x="325982" y="446014"/>
                </a:cubicBezTo>
                <a:lnTo>
                  <a:pt x="325982" y="446375"/>
                </a:lnTo>
                <a:cubicBezTo>
                  <a:pt x="321672" y="450704"/>
                  <a:pt x="315565" y="452869"/>
                  <a:pt x="310177" y="452869"/>
                </a:cubicBezTo>
                <a:cubicBezTo>
                  <a:pt x="304429" y="452869"/>
                  <a:pt x="298682" y="450704"/>
                  <a:pt x="294012" y="446375"/>
                </a:cubicBezTo>
                <a:cubicBezTo>
                  <a:pt x="285750" y="437716"/>
                  <a:pt x="285750" y="423284"/>
                  <a:pt x="294012" y="414625"/>
                </a:cubicBezTo>
                <a:lnTo>
                  <a:pt x="294371" y="414264"/>
                </a:lnTo>
                <a:cubicBezTo>
                  <a:pt x="298682" y="409934"/>
                  <a:pt x="304429" y="407770"/>
                  <a:pt x="310177" y="407770"/>
                </a:cubicBezTo>
                <a:close/>
                <a:moveTo>
                  <a:pt x="999799" y="176890"/>
                </a:moveTo>
                <a:lnTo>
                  <a:pt x="877447" y="299241"/>
                </a:lnTo>
                <a:lnTo>
                  <a:pt x="814472" y="362216"/>
                </a:lnTo>
                <a:lnTo>
                  <a:pt x="950498" y="362216"/>
                </a:lnTo>
                <a:lnTo>
                  <a:pt x="1093001" y="219713"/>
                </a:lnTo>
                <a:cubicBezTo>
                  <a:pt x="1103797" y="208917"/>
                  <a:pt x="1099839" y="195962"/>
                  <a:pt x="1098039" y="192364"/>
                </a:cubicBezTo>
                <a:cubicBezTo>
                  <a:pt x="1096960" y="188765"/>
                  <a:pt x="1090842" y="176890"/>
                  <a:pt x="1075368" y="176890"/>
                </a:cubicBezTo>
                <a:close/>
                <a:moveTo>
                  <a:pt x="444862" y="121443"/>
                </a:moveTo>
                <a:lnTo>
                  <a:pt x="579942" y="121443"/>
                </a:lnTo>
                <a:cubicBezTo>
                  <a:pt x="603356" y="121443"/>
                  <a:pt x="622447" y="140521"/>
                  <a:pt x="622447" y="163918"/>
                </a:cubicBezTo>
                <a:lnTo>
                  <a:pt x="622447" y="220792"/>
                </a:lnTo>
                <a:cubicBezTo>
                  <a:pt x="633614" y="223671"/>
                  <a:pt x="644781" y="227271"/>
                  <a:pt x="655947" y="230870"/>
                </a:cubicBezTo>
                <a:cubicBezTo>
                  <a:pt x="667474" y="235190"/>
                  <a:pt x="673598" y="247789"/>
                  <a:pt x="669275" y="259667"/>
                </a:cubicBezTo>
                <a:cubicBezTo>
                  <a:pt x="665313" y="271186"/>
                  <a:pt x="652345" y="277305"/>
                  <a:pt x="640818" y="273346"/>
                </a:cubicBezTo>
                <a:cubicBezTo>
                  <a:pt x="630372" y="269386"/>
                  <a:pt x="619926" y="266147"/>
                  <a:pt x="609120" y="263627"/>
                </a:cubicBezTo>
                <a:cubicBezTo>
                  <a:pt x="590749" y="258587"/>
                  <a:pt x="577421" y="241669"/>
                  <a:pt x="577421" y="222591"/>
                </a:cubicBezTo>
                <a:lnTo>
                  <a:pt x="577421" y="166438"/>
                </a:lnTo>
                <a:lnTo>
                  <a:pt x="447384" y="166438"/>
                </a:lnTo>
                <a:lnTo>
                  <a:pt x="447384" y="222591"/>
                </a:lnTo>
                <a:cubicBezTo>
                  <a:pt x="447384" y="242029"/>
                  <a:pt x="434416" y="258587"/>
                  <a:pt x="415685" y="263627"/>
                </a:cubicBezTo>
                <a:cubicBezTo>
                  <a:pt x="381825" y="272266"/>
                  <a:pt x="349406" y="285944"/>
                  <a:pt x="319148" y="303942"/>
                </a:cubicBezTo>
                <a:cubicBezTo>
                  <a:pt x="302578" y="313301"/>
                  <a:pt x="281686" y="310782"/>
                  <a:pt x="267998" y="297103"/>
                </a:cubicBezTo>
                <a:lnTo>
                  <a:pt x="228014" y="257148"/>
                </a:lnTo>
                <a:lnTo>
                  <a:pt x="135440" y="349297"/>
                </a:lnTo>
                <a:lnTo>
                  <a:pt x="175783" y="389613"/>
                </a:lnTo>
                <a:cubicBezTo>
                  <a:pt x="189472" y="402931"/>
                  <a:pt x="191993" y="424169"/>
                  <a:pt x="182627" y="440727"/>
                </a:cubicBezTo>
                <a:cubicBezTo>
                  <a:pt x="164617" y="470964"/>
                  <a:pt x="151289" y="503360"/>
                  <a:pt x="142644" y="537196"/>
                </a:cubicBezTo>
                <a:cubicBezTo>
                  <a:pt x="137601" y="555914"/>
                  <a:pt x="121031" y="568513"/>
                  <a:pt x="101580" y="568513"/>
                </a:cubicBezTo>
                <a:lnTo>
                  <a:pt x="44666" y="568513"/>
                </a:lnTo>
                <a:lnTo>
                  <a:pt x="44666" y="699178"/>
                </a:lnTo>
                <a:lnTo>
                  <a:pt x="101580" y="699178"/>
                </a:lnTo>
                <a:cubicBezTo>
                  <a:pt x="121031" y="699178"/>
                  <a:pt x="137961" y="712137"/>
                  <a:pt x="142644" y="730495"/>
                </a:cubicBezTo>
                <a:cubicBezTo>
                  <a:pt x="151289" y="764331"/>
                  <a:pt x="164977" y="796727"/>
                  <a:pt x="182627" y="826964"/>
                </a:cubicBezTo>
                <a:cubicBezTo>
                  <a:pt x="191993" y="843522"/>
                  <a:pt x="189832" y="864400"/>
                  <a:pt x="175783" y="878078"/>
                </a:cubicBezTo>
                <a:lnTo>
                  <a:pt x="135440" y="918394"/>
                </a:lnTo>
                <a:lnTo>
                  <a:pt x="228014" y="1010903"/>
                </a:lnTo>
                <a:lnTo>
                  <a:pt x="268358" y="970228"/>
                </a:lnTo>
                <a:cubicBezTo>
                  <a:pt x="282046" y="956910"/>
                  <a:pt x="302938" y="954030"/>
                  <a:pt x="319508" y="963749"/>
                </a:cubicBezTo>
                <a:cubicBezTo>
                  <a:pt x="349406" y="981387"/>
                  <a:pt x="382185" y="994705"/>
                  <a:pt x="415685" y="1003704"/>
                </a:cubicBezTo>
                <a:cubicBezTo>
                  <a:pt x="434416" y="1008744"/>
                  <a:pt x="447384" y="1025302"/>
                  <a:pt x="447384" y="1044380"/>
                </a:cubicBezTo>
                <a:lnTo>
                  <a:pt x="447384" y="1101613"/>
                </a:lnTo>
                <a:lnTo>
                  <a:pt x="577781" y="1101613"/>
                </a:lnTo>
                <a:lnTo>
                  <a:pt x="577781" y="1044740"/>
                </a:lnTo>
                <a:cubicBezTo>
                  <a:pt x="577781" y="1025662"/>
                  <a:pt x="590749" y="1008744"/>
                  <a:pt x="609120" y="1003704"/>
                </a:cubicBezTo>
                <a:cubicBezTo>
                  <a:pt x="642980" y="995065"/>
                  <a:pt x="675399" y="981387"/>
                  <a:pt x="705657" y="964109"/>
                </a:cubicBezTo>
                <a:cubicBezTo>
                  <a:pt x="722226" y="954390"/>
                  <a:pt x="743119" y="956910"/>
                  <a:pt x="756807" y="970588"/>
                </a:cubicBezTo>
                <a:lnTo>
                  <a:pt x="797150" y="1010903"/>
                </a:lnTo>
                <a:lnTo>
                  <a:pt x="889365" y="918394"/>
                </a:lnTo>
                <a:lnTo>
                  <a:pt x="849381" y="878438"/>
                </a:lnTo>
                <a:cubicBezTo>
                  <a:pt x="835693" y="864760"/>
                  <a:pt x="833172" y="843882"/>
                  <a:pt x="842897" y="827324"/>
                </a:cubicBezTo>
                <a:cubicBezTo>
                  <a:pt x="860548" y="797087"/>
                  <a:pt x="873876" y="764691"/>
                  <a:pt x="882881" y="730495"/>
                </a:cubicBezTo>
                <a:cubicBezTo>
                  <a:pt x="887564" y="712137"/>
                  <a:pt x="904494" y="699178"/>
                  <a:pt x="923945" y="699178"/>
                </a:cubicBezTo>
                <a:lnTo>
                  <a:pt x="980138" y="699178"/>
                </a:lnTo>
                <a:lnTo>
                  <a:pt x="980138" y="568513"/>
                </a:lnTo>
                <a:lnTo>
                  <a:pt x="923945" y="568513"/>
                </a:lnTo>
                <a:cubicBezTo>
                  <a:pt x="904494" y="568513"/>
                  <a:pt x="887924" y="555914"/>
                  <a:pt x="882881" y="537196"/>
                </a:cubicBezTo>
                <a:cubicBezTo>
                  <a:pt x="879999" y="526037"/>
                  <a:pt x="876757" y="515239"/>
                  <a:pt x="873155" y="504800"/>
                </a:cubicBezTo>
                <a:cubicBezTo>
                  <a:pt x="868833" y="493281"/>
                  <a:pt x="874956" y="480323"/>
                  <a:pt x="886483" y="476363"/>
                </a:cubicBezTo>
                <a:cubicBezTo>
                  <a:pt x="898370" y="472043"/>
                  <a:pt x="910978" y="478163"/>
                  <a:pt x="915300" y="489681"/>
                </a:cubicBezTo>
                <a:cubicBezTo>
                  <a:pt x="919263" y="500840"/>
                  <a:pt x="922865" y="512359"/>
                  <a:pt x="925746" y="523878"/>
                </a:cubicBezTo>
                <a:lnTo>
                  <a:pt x="982660" y="523878"/>
                </a:lnTo>
                <a:cubicBezTo>
                  <a:pt x="1006074" y="523878"/>
                  <a:pt x="1025165" y="542955"/>
                  <a:pt x="1025165" y="565993"/>
                </a:cubicBezTo>
                <a:lnTo>
                  <a:pt x="1025165" y="701698"/>
                </a:lnTo>
                <a:cubicBezTo>
                  <a:pt x="1025165" y="724736"/>
                  <a:pt x="1006074" y="743813"/>
                  <a:pt x="982660" y="743813"/>
                </a:cubicBezTo>
                <a:lnTo>
                  <a:pt x="925746" y="743813"/>
                </a:lnTo>
                <a:cubicBezTo>
                  <a:pt x="916021" y="780529"/>
                  <a:pt x="901252" y="815445"/>
                  <a:pt x="882521" y="848202"/>
                </a:cubicBezTo>
                <a:lnTo>
                  <a:pt x="922865" y="888517"/>
                </a:lnTo>
                <a:cubicBezTo>
                  <a:pt x="939074" y="905075"/>
                  <a:pt x="939074" y="931712"/>
                  <a:pt x="922865" y="948271"/>
                </a:cubicBezTo>
                <a:lnTo>
                  <a:pt x="827048" y="1044020"/>
                </a:lnTo>
                <a:cubicBezTo>
                  <a:pt x="810478" y="1060578"/>
                  <a:pt x="783462" y="1060578"/>
                  <a:pt x="766893" y="1044020"/>
                </a:cubicBezTo>
                <a:lnTo>
                  <a:pt x="726549" y="1003704"/>
                </a:lnTo>
                <a:cubicBezTo>
                  <a:pt x="693770" y="1022422"/>
                  <a:pt x="658829" y="1036821"/>
                  <a:pt x="622447" y="1046539"/>
                </a:cubicBezTo>
                <a:lnTo>
                  <a:pt x="622447" y="1104133"/>
                </a:lnTo>
                <a:cubicBezTo>
                  <a:pt x="622447" y="1127530"/>
                  <a:pt x="603356" y="1146608"/>
                  <a:pt x="579942" y="1146608"/>
                </a:cubicBezTo>
                <a:lnTo>
                  <a:pt x="444862" y="1146608"/>
                </a:lnTo>
                <a:cubicBezTo>
                  <a:pt x="421448" y="1146608"/>
                  <a:pt x="402357" y="1127530"/>
                  <a:pt x="402357" y="1104133"/>
                </a:cubicBezTo>
                <a:lnTo>
                  <a:pt x="402357" y="1046539"/>
                </a:lnTo>
                <a:cubicBezTo>
                  <a:pt x="365976" y="1036821"/>
                  <a:pt x="331035" y="1022422"/>
                  <a:pt x="298616" y="1003344"/>
                </a:cubicBezTo>
                <a:lnTo>
                  <a:pt x="257552" y="1044020"/>
                </a:lnTo>
                <a:cubicBezTo>
                  <a:pt x="241342" y="1060578"/>
                  <a:pt x="214326" y="1060578"/>
                  <a:pt x="197756" y="1044020"/>
                </a:cubicBezTo>
                <a:lnTo>
                  <a:pt x="101940" y="948271"/>
                </a:lnTo>
                <a:cubicBezTo>
                  <a:pt x="85730" y="931712"/>
                  <a:pt x="85730" y="905075"/>
                  <a:pt x="101940" y="888517"/>
                </a:cubicBezTo>
                <a:lnTo>
                  <a:pt x="143004" y="847842"/>
                </a:lnTo>
                <a:cubicBezTo>
                  <a:pt x="123913" y="815085"/>
                  <a:pt x="109504" y="780169"/>
                  <a:pt x="99779" y="743813"/>
                </a:cubicBezTo>
                <a:lnTo>
                  <a:pt x="42145" y="743813"/>
                </a:lnTo>
                <a:cubicBezTo>
                  <a:pt x="19091" y="743813"/>
                  <a:pt x="0" y="724736"/>
                  <a:pt x="0" y="701698"/>
                </a:cubicBezTo>
                <a:lnTo>
                  <a:pt x="0" y="565993"/>
                </a:lnTo>
                <a:cubicBezTo>
                  <a:pt x="0" y="542955"/>
                  <a:pt x="19091" y="523878"/>
                  <a:pt x="42145" y="523878"/>
                </a:cubicBezTo>
                <a:lnTo>
                  <a:pt x="99779" y="523878"/>
                </a:lnTo>
                <a:cubicBezTo>
                  <a:pt x="109144" y="487522"/>
                  <a:pt x="123913" y="452606"/>
                  <a:pt x="142644" y="419849"/>
                </a:cubicBezTo>
                <a:lnTo>
                  <a:pt x="101940" y="379174"/>
                </a:lnTo>
                <a:cubicBezTo>
                  <a:pt x="85730" y="362616"/>
                  <a:pt x="85730" y="335979"/>
                  <a:pt x="101940" y="319421"/>
                </a:cubicBezTo>
                <a:lnTo>
                  <a:pt x="197756" y="223671"/>
                </a:lnTo>
                <a:cubicBezTo>
                  <a:pt x="214326" y="207113"/>
                  <a:pt x="241342" y="207113"/>
                  <a:pt x="257552" y="223671"/>
                </a:cubicBezTo>
                <a:lnTo>
                  <a:pt x="298256" y="264347"/>
                </a:lnTo>
                <a:cubicBezTo>
                  <a:pt x="331035" y="245269"/>
                  <a:pt x="365976" y="230511"/>
                  <a:pt x="402357" y="220792"/>
                </a:cubicBezTo>
                <a:lnTo>
                  <a:pt x="402357" y="163918"/>
                </a:lnTo>
                <a:cubicBezTo>
                  <a:pt x="402357" y="140521"/>
                  <a:pt x="421448" y="121443"/>
                  <a:pt x="444862" y="121443"/>
                </a:cubicBezTo>
                <a:close/>
                <a:moveTo>
                  <a:pt x="941862" y="44823"/>
                </a:moveTo>
                <a:cubicBezTo>
                  <a:pt x="936914" y="45003"/>
                  <a:pt x="931066" y="46802"/>
                  <a:pt x="925668" y="52380"/>
                </a:cubicBezTo>
                <a:lnTo>
                  <a:pt x="782805" y="194883"/>
                </a:lnTo>
                <a:lnTo>
                  <a:pt x="782805" y="330548"/>
                </a:lnTo>
                <a:lnTo>
                  <a:pt x="845780" y="267574"/>
                </a:lnTo>
                <a:lnTo>
                  <a:pt x="968131" y="145222"/>
                </a:lnTo>
                <a:lnTo>
                  <a:pt x="968131" y="70013"/>
                </a:lnTo>
                <a:cubicBezTo>
                  <a:pt x="968131" y="54539"/>
                  <a:pt x="956256" y="48421"/>
                  <a:pt x="952657" y="46982"/>
                </a:cubicBezTo>
                <a:cubicBezTo>
                  <a:pt x="950858" y="46082"/>
                  <a:pt x="946810" y="44643"/>
                  <a:pt x="941862" y="44823"/>
                </a:cubicBezTo>
                <a:close/>
                <a:moveTo>
                  <a:pt x="929672" y="1280"/>
                </a:moveTo>
                <a:cubicBezTo>
                  <a:pt x="942761" y="-1329"/>
                  <a:pt x="956616" y="21"/>
                  <a:pt x="969930" y="5598"/>
                </a:cubicBezTo>
                <a:cubicBezTo>
                  <a:pt x="996200" y="16394"/>
                  <a:pt x="1012753" y="41224"/>
                  <a:pt x="1012753" y="69653"/>
                </a:cubicBezTo>
                <a:lnTo>
                  <a:pt x="1013113" y="132268"/>
                </a:lnTo>
                <a:lnTo>
                  <a:pt x="1075368" y="132268"/>
                </a:lnTo>
                <a:cubicBezTo>
                  <a:pt x="1104157" y="132268"/>
                  <a:pt x="1128627" y="148821"/>
                  <a:pt x="1139783" y="175450"/>
                </a:cubicBezTo>
                <a:cubicBezTo>
                  <a:pt x="1150578" y="201720"/>
                  <a:pt x="1144821" y="230868"/>
                  <a:pt x="1124669" y="251380"/>
                </a:cubicBezTo>
                <a:lnTo>
                  <a:pt x="975328" y="400720"/>
                </a:lnTo>
                <a:cubicBezTo>
                  <a:pt x="971370" y="405039"/>
                  <a:pt x="965612" y="407198"/>
                  <a:pt x="959854" y="407198"/>
                </a:cubicBezTo>
                <a:lnTo>
                  <a:pt x="769490" y="407198"/>
                </a:lnTo>
                <a:lnTo>
                  <a:pt x="745380" y="431308"/>
                </a:lnTo>
                <a:cubicBezTo>
                  <a:pt x="789282" y="481688"/>
                  <a:pt x="814832" y="544303"/>
                  <a:pt x="819870" y="610516"/>
                </a:cubicBezTo>
                <a:lnTo>
                  <a:pt x="845780" y="610516"/>
                </a:lnTo>
                <a:cubicBezTo>
                  <a:pt x="858375" y="610516"/>
                  <a:pt x="868451" y="620593"/>
                  <a:pt x="868451" y="633188"/>
                </a:cubicBezTo>
                <a:cubicBezTo>
                  <a:pt x="868451" y="645423"/>
                  <a:pt x="858375" y="655499"/>
                  <a:pt x="845780" y="655499"/>
                </a:cubicBezTo>
                <a:lnTo>
                  <a:pt x="819870" y="655499"/>
                </a:lnTo>
                <a:cubicBezTo>
                  <a:pt x="814472" y="729629"/>
                  <a:pt x="783165" y="798362"/>
                  <a:pt x="730266" y="851261"/>
                </a:cubicBezTo>
                <a:cubicBezTo>
                  <a:pt x="677367" y="904519"/>
                  <a:pt x="608275" y="935827"/>
                  <a:pt x="534144" y="941225"/>
                </a:cubicBezTo>
                <a:lnTo>
                  <a:pt x="534144" y="967134"/>
                </a:lnTo>
                <a:cubicBezTo>
                  <a:pt x="534144" y="979369"/>
                  <a:pt x="524068" y="989445"/>
                  <a:pt x="511833" y="989445"/>
                </a:cubicBezTo>
                <a:cubicBezTo>
                  <a:pt x="499598" y="989445"/>
                  <a:pt x="489882" y="979369"/>
                  <a:pt x="489882" y="967134"/>
                </a:cubicBezTo>
                <a:lnTo>
                  <a:pt x="489882" y="941225"/>
                </a:lnTo>
                <a:cubicBezTo>
                  <a:pt x="416111" y="935827"/>
                  <a:pt x="347018" y="904519"/>
                  <a:pt x="293760" y="851261"/>
                </a:cubicBezTo>
                <a:cubicBezTo>
                  <a:pt x="240501" y="797642"/>
                  <a:pt x="209913" y="727830"/>
                  <a:pt x="204515" y="655499"/>
                </a:cubicBezTo>
                <a:lnTo>
                  <a:pt x="178246" y="655499"/>
                </a:lnTo>
                <a:cubicBezTo>
                  <a:pt x="166011" y="655499"/>
                  <a:pt x="155575" y="645423"/>
                  <a:pt x="155575" y="633188"/>
                </a:cubicBezTo>
                <a:cubicBezTo>
                  <a:pt x="155575" y="620593"/>
                  <a:pt x="166011" y="610516"/>
                  <a:pt x="178246" y="610516"/>
                </a:cubicBezTo>
                <a:lnTo>
                  <a:pt x="204515" y="610516"/>
                </a:lnTo>
                <a:cubicBezTo>
                  <a:pt x="207034" y="573451"/>
                  <a:pt x="216750" y="536026"/>
                  <a:pt x="233304" y="500760"/>
                </a:cubicBezTo>
                <a:cubicBezTo>
                  <a:pt x="238702" y="489605"/>
                  <a:pt x="252016" y="484927"/>
                  <a:pt x="263172" y="489965"/>
                </a:cubicBezTo>
                <a:cubicBezTo>
                  <a:pt x="274327" y="495362"/>
                  <a:pt x="279006" y="508677"/>
                  <a:pt x="273608" y="519833"/>
                </a:cubicBezTo>
                <a:cubicBezTo>
                  <a:pt x="259933" y="548981"/>
                  <a:pt x="252016" y="579569"/>
                  <a:pt x="249137" y="610516"/>
                </a:cubicBezTo>
                <a:lnTo>
                  <a:pt x="269289" y="610516"/>
                </a:lnTo>
                <a:cubicBezTo>
                  <a:pt x="281525" y="610516"/>
                  <a:pt x="291601" y="620593"/>
                  <a:pt x="291601" y="633188"/>
                </a:cubicBezTo>
                <a:cubicBezTo>
                  <a:pt x="291601" y="645423"/>
                  <a:pt x="281525" y="655499"/>
                  <a:pt x="269289" y="655499"/>
                </a:cubicBezTo>
                <a:lnTo>
                  <a:pt x="249497" y="655499"/>
                </a:lnTo>
                <a:cubicBezTo>
                  <a:pt x="254535" y="716315"/>
                  <a:pt x="280805" y="774611"/>
                  <a:pt x="325787" y="819593"/>
                </a:cubicBezTo>
                <a:cubicBezTo>
                  <a:pt x="371489" y="865655"/>
                  <a:pt x="429785" y="890845"/>
                  <a:pt x="489882" y="895883"/>
                </a:cubicBezTo>
                <a:lnTo>
                  <a:pt x="489882" y="876091"/>
                </a:lnTo>
                <a:cubicBezTo>
                  <a:pt x="489882" y="863856"/>
                  <a:pt x="499598" y="853780"/>
                  <a:pt x="511833" y="853780"/>
                </a:cubicBezTo>
                <a:cubicBezTo>
                  <a:pt x="524068" y="853780"/>
                  <a:pt x="534144" y="863856"/>
                  <a:pt x="534144" y="876091"/>
                </a:cubicBezTo>
                <a:lnTo>
                  <a:pt x="534144" y="895883"/>
                </a:lnTo>
                <a:cubicBezTo>
                  <a:pt x="594240" y="890845"/>
                  <a:pt x="652897" y="865655"/>
                  <a:pt x="698599" y="819593"/>
                </a:cubicBezTo>
                <a:cubicBezTo>
                  <a:pt x="744300" y="773892"/>
                  <a:pt x="769850" y="715235"/>
                  <a:pt x="774888" y="655499"/>
                </a:cubicBezTo>
                <a:lnTo>
                  <a:pt x="755096" y="655499"/>
                </a:lnTo>
                <a:cubicBezTo>
                  <a:pt x="742861" y="655499"/>
                  <a:pt x="732785" y="645423"/>
                  <a:pt x="732785" y="633188"/>
                </a:cubicBezTo>
                <a:cubicBezTo>
                  <a:pt x="732785" y="620593"/>
                  <a:pt x="742861" y="610516"/>
                  <a:pt x="755096" y="610516"/>
                </a:cubicBezTo>
                <a:lnTo>
                  <a:pt x="774888" y="610516"/>
                </a:lnTo>
                <a:cubicBezTo>
                  <a:pt x="770210" y="557618"/>
                  <a:pt x="750058" y="505798"/>
                  <a:pt x="713713" y="462975"/>
                </a:cubicBezTo>
                <a:lnTo>
                  <a:pt x="650018" y="526670"/>
                </a:lnTo>
                <a:cubicBezTo>
                  <a:pt x="672689" y="556178"/>
                  <a:pt x="686364" y="593243"/>
                  <a:pt x="686364" y="633188"/>
                </a:cubicBezTo>
                <a:cubicBezTo>
                  <a:pt x="686364" y="729269"/>
                  <a:pt x="608275" y="807358"/>
                  <a:pt x="511833" y="807358"/>
                </a:cubicBezTo>
                <a:cubicBezTo>
                  <a:pt x="416111" y="807358"/>
                  <a:pt x="337662" y="729269"/>
                  <a:pt x="337662" y="633188"/>
                </a:cubicBezTo>
                <a:cubicBezTo>
                  <a:pt x="337662" y="537106"/>
                  <a:pt x="416111" y="458657"/>
                  <a:pt x="511833" y="458657"/>
                </a:cubicBezTo>
                <a:cubicBezTo>
                  <a:pt x="552137" y="458657"/>
                  <a:pt x="588842" y="472332"/>
                  <a:pt x="618351" y="495003"/>
                </a:cubicBezTo>
                <a:lnTo>
                  <a:pt x="682045" y="431308"/>
                </a:lnTo>
                <a:cubicBezTo>
                  <a:pt x="639582" y="395322"/>
                  <a:pt x="587763" y="374451"/>
                  <a:pt x="534144" y="370133"/>
                </a:cubicBezTo>
                <a:lnTo>
                  <a:pt x="534144" y="389925"/>
                </a:lnTo>
                <a:cubicBezTo>
                  <a:pt x="534144" y="402160"/>
                  <a:pt x="524068" y="412236"/>
                  <a:pt x="511833" y="412236"/>
                </a:cubicBezTo>
                <a:cubicBezTo>
                  <a:pt x="499598" y="412236"/>
                  <a:pt x="489882" y="402160"/>
                  <a:pt x="489882" y="389925"/>
                </a:cubicBezTo>
                <a:lnTo>
                  <a:pt x="489882" y="370133"/>
                </a:lnTo>
                <a:cubicBezTo>
                  <a:pt x="457854" y="372652"/>
                  <a:pt x="425467" y="381288"/>
                  <a:pt x="395239" y="396042"/>
                </a:cubicBezTo>
                <a:cubicBezTo>
                  <a:pt x="384443" y="401800"/>
                  <a:pt x="370769" y="397122"/>
                  <a:pt x="365371" y="385966"/>
                </a:cubicBezTo>
                <a:cubicBezTo>
                  <a:pt x="359973" y="375171"/>
                  <a:pt x="364651" y="361496"/>
                  <a:pt x="375447" y="356098"/>
                </a:cubicBezTo>
                <a:cubicBezTo>
                  <a:pt x="412152" y="338105"/>
                  <a:pt x="451017" y="328029"/>
                  <a:pt x="489882" y="325151"/>
                </a:cubicBezTo>
                <a:lnTo>
                  <a:pt x="489882" y="298881"/>
                </a:lnTo>
                <a:cubicBezTo>
                  <a:pt x="489882" y="286646"/>
                  <a:pt x="499598" y="276570"/>
                  <a:pt x="511833" y="276570"/>
                </a:cubicBezTo>
                <a:cubicBezTo>
                  <a:pt x="524068" y="276570"/>
                  <a:pt x="534144" y="286646"/>
                  <a:pt x="534144" y="298881"/>
                </a:cubicBezTo>
                <a:lnTo>
                  <a:pt x="534144" y="325151"/>
                </a:lnTo>
                <a:cubicBezTo>
                  <a:pt x="599278" y="329829"/>
                  <a:pt x="662613" y="355019"/>
                  <a:pt x="713713" y="399641"/>
                </a:cubicBezTo>
                <a:lnTo>
                  <a:pt x="738183" y="375530"/>
                </a:lnTo>
                <a:lnTo>
                  <a:pt x="738183" y="185526"/>
                </a:lnTo>
                <a:cubicBezTo>
                  <a:pt x="738183" y="179409"/>
                  <a:pt x="740342" y="173651"/>
                  <a:pt x="744660" y="169693"/>
                </a:cubicBezTo>
                <a:lnTo>
                  <a:pt x="894001" y="20712"/>
                </a:lnTo>
                <a:cubicBezTo>
                  <a:pt x="904257" y="10456"/>
                  <a:pt x="916582" y="3889"/>
                  <a:pt x="929672" y="1280"/>
                </a:cubicBezTo>
                <a:close/>
              </a:path>
            </a:pathLst>
          </a:custGeom>
          <a:solidFill>
            <a:schemeClr val="bg2"/>
          </a:solidFill>
          <a:ln>
            <a:noFill/>
          </a:ln>
          <a:effectLst/>
        </p:spPr>
        <p:txBody>
          <a:bodyPr wrap="square" anchor="ctr">
            <a:noAutofit/>
          </a:bodyPr>
          <a:lstStyle/>
          <a:p>
            <a:pPr defTabSz="685846"/>
            <a:endParaRPr lang="en-US" sz="1350" dirty="0">
              <a:solidFill>
                <a:srgbClr val="7F7F7F"/>
              </a:solidFill>
              <a:latin typeface="Lato Light" panose="020F0502020204030203" pitchFamily="34" charset="0"/>
            </a:endParaRPr>
          </a:p>
        </p:txBody>
      </p:sp>
      <p:sp>
        <p:nvSpPr>
          <p:cNvPr id="18" name="Freeform 17">
            <a:extLst>
              <a:ext uri="{FF2B5EF4-FFF2-40B4-BE49-F238E27FC236}">
                <a16:creationId xmlns:a16="http://schemas.microsoft.com/office/drawing/2014/main" id="{8D3E52E2-B28F-9045-AB5B-72EDE3197D53}"/>
              </a:ext>
            </a:extLst>
          </p:cNvPr>
          <p:cNvSpPr>
            <a:spLocks noChangeAspect="1" noChangeArrowheads="1"/>
          </p:cNvSpPr>
          <p:nvPr/>
        </p:nvSpPr>
        <p:spPr bwMode="auto">
          <a:xfrm>
            <a:off x="2858545" y="3917596"/>
            <a:ext cx="479161" cy="479161"/>
          </a:xfrm>
          <a:custGeom>
            <a:avLst/>
            <a:gdLst>
              <a:gd name="connsiteX0" fmla="*/ 67316 w 1145815"/>
              <a:gd name="connsiteY0" fmla="*/ 1020222 h 1145815"/>
              <a:gd name="connsiteX1" fmla="*/ 44997 w 1145815"/>
              <a:gd name="connsiteY1" fmla="*/ 1042893 h 1145815"/>
              <a:gd name="connsiteX2" fmla="*/ 44997 w 1145815"/>
              <a:gd name="connsiteY2" fmla="*/ 1100832 h 1145815"/>
              <a:gd name="connsiteX3" fmla="*/ 366819 w 1145815"/>
              <a:gd name="connsiteY3" fmla="*/ 1100832 h 1145815"/>
              <a:gd name="connsiteX4" fmla="*/ 366819 w 1145815"/>
              <a:gd name="connsiteY4" fmla="*/ 1042893 h 1145815"/>
              <a:gd name="connsiteX5" fmla="*/ 344860 w 1145815"/>
              <a:gd name="connsiteY5" fmla="*/ 1020222 h 1145815"/>
              <a:gd name="connsiteX6" fmla="*/ 434135 w 1145815"/>
              <a:gd name="connsiteY6" fmla="*/ 912982 h 1145815"/>
              <a:gd name="connsiteX7" fmla="*/ 411816 w 1145815"/>
              <a:gd name="connsiteY7" fmla="*/ 935293 h 1145815"/>
              <a:gd name="connsiteX8" fmla="*/ 411816 w 1145815"/>
              <a:gd name="connsiteY8" fmla="*/ 1100832 h 1145815"/>
              <a:gd name="connsiteX9" fmla="*/ 733998 w 1145815"/>
              <a:gd name="connsiteY9" fmla="*/ 1100832 h 1145815"/>
              <a:gd name="connsiteX10" fmla="*/ 733998 w 1145815"/>
              <a:gd name="connsiteY10" fmla="*/ 935293 h 1145815"/>
              <a:gd name="connsiteX11" fmla="*/ 711679 w 1145815"/>
              <a:gd name="connsiteY11" fmla="*/ 912982 h 1145815"/>
              <a:gd name="connsiteX12" fmla="*/ 801314 w 1145815"/>
              <a:gd name="connsiteY12" fmla="*/ 841368 h 1145815"/>
              <a:gd name="connsiteX13" fmla="*/ 778996 w 1145815"/>
              <a:gd name="connsiteY13" fmla="*/ 863680 h 1145815"/>
              <a:gd name="connsiteX14" fmla="*/ 778996 w 1145815"/>
              <a:gd name="connsiteY14" fmla="*/ 1100832 h 1145815"/>
              <a:gd name="connsiteX15" fmla="*/ 1101178 w 1145815"/>
              <a:gd name="connsiteY15" fmla="*/ 1100832 h 1145815"/>
              <a:gd name="connsiteX16" fmla="*/ 1101178 w 1145815"/>
              <a:gd name="connsiteY16" fmla="*/ 863680 h 1145815"/>
              <a:gd name="connsiteX17" fmla="*/ 1078859 w 1145815"/>
              <a:gd name="connsiteY17" fmla="*/ 841368 h 1145815"/>
              <a:gd name="connsiteX18" fmla="*/ 292894 w 1145815"/>
              <a:gd name="connsiteY18" fmla="*/ 747713 h 1145815"/>
              <a:gd name="connsiteX19" fmla="*/ 308971 w 1145815"/>
              <a:gd name="connsiteY19" fmla="*/ 754114 h 1145815"/>
              <a:gd name="connsiteX20" fmla="*/ 315547 w 1145815"/>
              <a:gd name="connsiteY20" fmla="*/ 769760 h 1145815"/>
              <a:gd name="connsiteX21" fmla="*/ 308971 w 1145815"/>
              <a:gd name="connsiteY21" fmla="*/ 785407 h 1145815"/>
              <a:gd name="connsiteX22" fmla="*/ 292894 w 1145815"/>
              <a:gd name="connsiteY22" fmla="*/ 791808 h 1145815"/>
              <a:gd name="connsiteX23" fmla="*/ 276817 w 1145815"/>
              <a:gd name="connsiteY23" fmla="*/ 785407 h 1145815"/>
              <a:gd name="connsiteX24" fmla="*/ 269875 w 1145815"/>
              <a:gd name="connsiteY24" fmla="*/ 769760 h 1145815"/>
              <a:gd name="connsiteX25" fmla="*/ 276817 w 1145815"/>
              <a:gd name="connsiteY25" fmla="*/ 754114 h 1145815"/>
              <a:gd name="connsiteX26" fmla="*/ 292894 w 1145815"/>
              <a:gd name="connsiteY26" fmla="*/ 747713 h 1145815"/>
              <a:gd name="connsiteX27" fmla="*/ 895172 w 1145815"/>
              <a:gd name="connsiteY27" fmla="*/ 704850 h 1145815"/>
              <a:gd name="connsiteX28" fmla="*/ 910819 w 1145815"/>
              <a:gd name="connsiteY28" fmla="*/ 711251 h 1145815"/>
              <a:gd name="connsiteX29" fmla="*/ 917220 w 1145815"/>
              <a:gd name="connsiteY29" fmla="*/ 726897 h 1145815"/>
              <a:gd name="connsiteX30" fmla="*/ 910819 w 1145815"/>
              <a:gd name="connsiteY30" fmla="*/ 742544 h 1145815"/>
              <a:gd name="connsiteX31" fmla="*/ 895172 w 1145815"/>
              <a:gd name="connsiteY31" fmla="*/ 748945 h 1145815"/>
              <a:gd name="connsiteX32" fmla="*/ 879526 w 1145815"/>
              <a:gd name="connsiteY32" fmla="*/ 742544 h 1145815"/>
              <a:gd name="connsiteX33" fmla="*/ 873125 w 1145815"/>
              <a:gd name="connsiteY33" fmla="*/ 726897 h 1145815"/>
              <a:gd name="connsiteX34" fmla="*/ 879526 w 1145815"/>
              <a:gd name="connsiteY34" fmla="*/ 711251 h 1145815"/>
              <a:gd name="connsiteX35" fmla="*/ 895172 w 1145815"/>
              <a:gd name="connsiteY35" fmla="*/ 704850 h 1145815"/>
              <a:gd name="connsiteX36" fmla="*/ 411816 w 1145815"/>
              <a:gd name="connsiteY36" fmla="*/ 671151 h 1145815"/>
              <a:gd name="connsiteX37" fmla="*/ 411816 w 1145815"/>
              <a:gd name="connsiteY37" fmla="*/ 871957 h 1145815"/>
              <a:gd name="connsiteX38" fmla="*/ 434135 w 1145815"/>
              <a:gd name="connsiteY38" fmla="*/ 867998 h 1145815"/>
              <a:gd name="connsiteX39" fmla="*/ 467973 w 1145815"/>
              <a:gd name="connsiteY39" fmla="*/ 867998 h 1145815"/>
              <a:gd name="connsiteX40" fmla="*/ 467973 w 1145815"/>
              <a:gd name="connsiteY40" fmla="*/ 671151 h 1145815"/>
              <a:gd name="connsiteX41" fmla="*/ 326861 w 1145815"/>
              <a:gd name="connsiteY41" fmla="*/ 228515 h 1145815"/>
              <a:gd name="connsiteX42" fmla="*/ 223907 w 1145815"/>
              <a:gd name="connsiteY42" fmla="*/ 331437 h 1145815"/>
              <a:gd name="connsiteX43" fmla="*/ 223907 w 1145815"/>
              <a:gd name="connsiteY43" fmla="*/ 447314 h 1145815"/>
              <a:gd name="connsiteX44" fmla="*/ 268545 w 1145815"/>
              <a:gd name="connsiteY44" fmla="*/ 510651 h 1145815"/>
              <a:gd name="connsiteX45" fmla="*/ 268545 w 1145815"/>
              <a:gd name="connsiteY45" fmla="*/ 354109 h 1145815"/>
              <a:gd name="connsiteX46" fmla="*/ 291223 w 1145815"/>
              <a:gd name="connsiteY46" fmla="*/ 331797 h 1145815"/>
              <a:gd name="connsiteX47" fmla="*/ 313542 w 1145815"/>
              <a:gd name="connsiteY47" fmla="*/ 354109 h 1145815"/>
              <a:gd name="connsiteX48" fmla="*/ 313542 w 1145815"/>
              <a:gd name="connsiteY48" fmla="*/ 509931 h 1145815"/>
              <a:gd name="connsiteX49" fmla="*/ 428015 w 1145815"/>
              <a:gd name="connsiteY49" fmla="*/ 509931 h 1145815"/>
              <a:gd name="connsiteX50" fmla="*/ 428015 w 1145815"/>
              <a:gd name="connsiteY50" fmla="*/ 354109 h 1145815"/>
              <a:gd name="connsiteX51" fmla="*/ 450334 w 1145815"/>
              <a:gd name="connsiteY51" fmla="*/ 331797 h 1145815"/>
              <a:gd name="connsiteX52" fmla="*/ 472653 w 1145815"/>
              <a:gd name="connsiteY52" fmla="*/ 354109 h 1145815"/>
              <a:gd name="connsiteX53" fmla="*/ 472653 w 1145815"/>
              <a:gd name="connsiteY53" fmla="*/ 413487 h 1145815"/>
              <a:gd name="connsiteX54" fmla="*/ 503611 w 1145815"/>
              <a:gd name="connsiteY54" fmla="*/ 444435 h 1145815"/>
              <a:gd name="connsiteX55" fmla="*/ 619525 w 1145815"/>
              <a:gd name="connsiteY55" fmla="*/ 444435 h 1145815"/>
              <a:gd name="connsiteX56" fmla="*/ 641123 w 1145815"/>
              <a:gd name="connsiteY56" fmla="*/ 422843 h 1145815"/>
              <a:gd name="connsiteX57" fmla="*/ 619525 w 1145815"/>
              <a:gd name="connsiteY57" fmla="*/ 401251 h 1145815"/>
              <a:gd name="connsiteX58" fmla="*/ 539969 w 1145815"/>
              <a:gd name="connsiteY58" fmla="*/ 401251 h 1145815"/>
              <a:gd name="connsiteX59" fmla="*/ 517290 w 1145815"/>
              <a:gd name="connsiteY59" fmla="*/ 378939 h 1145815"/>
              <a:gd name="connsiteX60" fmla="*/ 517290 w 1145815"/>
              <a:gd name="connsiteY60" fmla="*/ 331437 h 1145815"/>
              <a:gd name="connsiteX61" fmla="*/ 414336 w 1145815"/>
              <a:gd name="connsiteY61" fmla="*/ 228515 h 1145815"/>
              <a:gd name="connsiteX62" fmla="*/ 372579 w 1145815"/>
              <a:gd name="connsiteY62" fmla="*/ 44623 h 1145815"/>
              <a:gd name="connsiteX63" fmla="*/ 313542 w 1145815"/>
              <a:gd name="connsiteY63" fmla="*/ 104001 h 1145815"/>
              <a:gd name="connsiteX64" fmla="*/ 313542 w 1145815"/>
              <a:gd name="connsiteY64" fmla="*/ 124514 h 1145815"/>
              <a:gd name="connsiteX65" fmla="*/ 372579 w 1145815"/>
              <a:gd name="connsiteY65" fmla="*/ 183892 h 1145815"/>
              <a:gd name="connsiteX66" fmla="*/ 431975 w 1145815"/>
              <a:gd name="connsiteY66" fmla="*/ 124514 h 1145815"/>
              <a:gd name="connsiteX67" fmla="*/ 431975 w 1145815"/>
              <a:gd name="connsiteY67" fmla="*/ 104001 h 1145815"/>
              <a:gd name="connsiteX68" fmla="*/ 372579 w 1145815"/>
              <a:gd name="connsiteY68" fmla="*/ 44623 h 1145815"/>
              <a:gd name="connsiteX69" fmla="*/ 372579 w 1145815"/>
              <a:gd name="connsiteY69" fmla="*/ 0 h 1145815"/>
              <a:gd name="connsiteX70" fmla="*/ 476973 w 1145815"/>
              <a:gd name="connsiteY70" fmla="*/ 104001 h 1145815"/>
              <a:gd name="connsiteX71" fmla="*/ 476973 w 1145815"/>
              <a:gd name="connsiteY71" fmla="*/ 124514 h 1145815"/>
              <a:gd name="connsiteX72" fmla="*/ 453934 w 1145815"/>
              <a:gd name="connsiteY72" fmla="*/ 189290 h 1145815"/>
              <a:gd name="connsiteX73" fmla="*/ 562288 w 1145815"/>
              <a:gd name="connsiteY73" fmla="*/ 331437 h 1145815"/>
              <a:gd name="connsiteX74" fmla="*/ 562288 w 1145815"/>
              <a:gd name="connsiteY74" fmla="*/ 356628 h 1145815"/>
              <a:gd name="connsiteX75" fmla="*/ 619525 w 1145815"/>
              <a:gd name="connsiteY75" fmla="*/ 356628 h 1145815"/>
              <a:gd name="connsiteX76" fmla="*/ 686121 w 1145815"/>
              <a:gd name="connsiteY76" fmla="*/ 422843 h 1145815"/>
              <a:gd name="connsiteX77" fmla="*/ 619525 w 1145815"/>
              <a:gd name="connsiteY77" fmla="*/ 489059 h 1145815"/>
              <a:gd name="connsiteX78" fmla="*/ 503611 w 1145815"/>
              <a:gd name="connsiteY78" fmla="*/ 489059 h 1145815"/>
              <a:gd name="connsiteX79" fmla="*/ 472653 w 1145815"/>
              <a:gd name="connsiteY79" fmla="*/ 482581 h 1145815"/>
              <a:gd name="connsiteX80" fmla="*/ 472653 w 1145815"/>
              <a:gd name="connsiteY80" fmla="*/ 509931 h 1145815"/>
              <a:gd name="connsiteX81" fmla="*/ 499291 w 1145815"/>
              <a:gd name="connsiteY81" fmla="*/ 509931 h 1145815"/>
              <a:gd name="connsiteX82" fmla="*/ 611245 w 1145815"/>
              <a:gd name="connsiteY82" fmla="*/ 621849 h 1145815"/>
              <a:gd name="connsiteX83" fmla="*/ 611245 w 1145815"/>
              <a:gd name="connsiteY83" fmla="*/ 867998 h 1145815"/>
              <a:gd name="connsiteX84" fmla="*/ 711679 w 1145815"/>
              <a:gd name="connsiteY84" fmla="*/ 867998 h 1145815"/>
              <a:gd name="connsiteX85" fmla="*/ 733998 w 1145815"/>
              <a:gd name="connsiteY85" fmla="*/ 871957 h 1145815"/>
              <a:gd name="connsiteX86" fmla="*/ 733998 w 1145815"/>
              <a:gd name="connsiteY86" fmla="*/ 863680 h 1145815"/>
              <a:gd name="connsiteX87" fmla="*/ 801314 w 1145815"/>
              <a:gd name="connsiteY87" fmla="*/ 796385 h 1145815"/>
              <a:gd name="connsiteX88" fmla="*/ 962586 w 1145815"/>
              <a:gd name="connsiteY88" fmla="*/ 796385 h 1145815"/>
              <a:gd name="connsiteX89" fmla="*/ 962586 w 1145815"/>
              <a:gd name="connsiteY89" fmla="*/ 186051 h 1145815"/>
              <a:gd name="connsiteX90" fmla="*/ 975545 w 1145815"/>
              <a:gd name="connsiteY90" fmla="*/ 165898 h 1145815"/>
              <a:gd name="connsiteX91" fmla="*/ 939907 w 1145815"/>
              <a:gd name="connsiteY91" fmla="*/ 109399 h 1145815"/>
              <a:gd name="connsiteX92" fmla="*/ 904629 w 1145815"/>
              <a:gd name="connsiteY92" fmla="*/ 165898 h 1145815"/>
              <a:gd name="connsiteX93" fmla="*/ 917588 w 1145815"/>
              <a:gd name="connsiteY93" fmla="*/ 186051 h 1145815"/>
              <a:gd name="connsiteX94" fmla="*/ 917588 w 1145815"/>
              <a:gd name="connsiteY94" fmla="*/ 642362 h 1145815"/>
              <a:gd name="connsiteX95" fmla="*/ 895269 w 1145815"/>
              <a:gd name="connsiteY95" fmla="*/ 664673 h 1145815"/>
              <a:gd name="connsiteX96" fmla="*/ 872950 w 1145815"/>
              <a:gd name="connsiteY96" fmla="*/ 642362 h 1145815"/>
              <a:gd name="connsiteX97" fmla="*/ 872950 w 1145815"/>
              <a:gd name="connsiteY97" fmla="*/ 208363 h 1145815"/>
              <a:gd name="connsiteX98" fmla="*/ 865391 w 1145815"/>
              <a:gd name="connsiteY98" fmla="*/ 208363 h 1145815"/>
              <a:gd name="connsiteX99" fmla="*/ 845952 w 1145815"/>
              <a:gd name="connsiteY99" fmla="*/ 197207 h 1145815"/>
              <a:gd name="connsiteX100" fmla="*/ 846672 w 1145815"/>
              <a:gd name="connsiteY100" fmla="*/ 174175 h 1145815"/>
              <a:gd name="connsiteX101" fmla="*/ 921188 w 1145815"/>
              <a:gd name="connsiteY101" fmla="*/ 55419 h 1145815"/>
              <a:gd name="connsiteX102" fmla="*/ 939907 w 1145815"/>
              <a:gd name="connsiteY102" fmla="*/ 44983 h 1145815"/>
              <a:gd name="connsiteX103" fmla="*/ 958986 w 1145815"/>
              <a:gd name="connsiteY103" fmla="*/ 55419 h 1145815"/>
              <a:gd name="connsiteX104" fmla="*/ 1033502 w 1145815"/>
              <a:gd name="connsiteY104" fmla="*/ 174175 h 1145815"/>
              <a:gd name="connsiteX105" fmla="*/ 1033862 w 1145815"/>
              <a:gd name="connsiteY105" fmla="*/ 197207 h 1145815"/>
              <a:gd name="connsiteX106" fmla="*/ 1014423 w 1145815"/>
              <a:gd name="connsiteY106" fmla="*/ 208363 h 1145815"/>
              <a:gd name="connsiteX107" fmla="*/ 1007223 w 1145815"/>
              <a:gd name="connsiteY107" fmla="*/ 208363 h 1145815"/>
              <a:gd name="connsiteX108" fmla="*/ 1007223 w 1145815"/>
              <a:gd name="connsiteY108" fmla="*/ 796385 h 1145815"/>
              <a:gd name="connsiteX109" fmla="*/ 1078859 w 1145815"/>
              <a:gd name="connsiteY109" fmla="*/ 796385 h 1145815"/>
              <a:gd name="connsiteX110" fmla="*/ 1145815 w 1145815"/>
              <a:gd name="connsiteY110" fmla="*/ 863680 h 1145815"/>
              <a:gd name="connsiteX111" fmla="*/ 1145815 w 1145815"/>
              <a:gd name="connsiteY111" fmla="*/ 1123144 h 1145815"/>
              <a:gd name="connsiteX112" fmla="*/ 1123496 w 1145815"/>
              <a:gd name="connsiteY112" fmla="*/ 1145815 h 1145815"/>
              <a:gd name="connsiteX113" fmla="*/ 22318 w 1145815"/>
              <a:gd name="connsiteY113" fmla="*/ 1145815 h 1145815"/>
              <a:gd name="connsiteX114" fmla="*/ 0 w 1145815"/>
              <a:gd name="connsiteY114" fmla="*/ 1123144 h 1145815"/>
              <a:gd name="connsiteX115" fmla="*/ 0 w 1145815"/>
              <a:gd name="connsiteY115" fmla="*/ 1042893 h 1145815"/>
              <a:gd name="connsiteX116" fmla="*/ 67316 w 1145815"/>
              <a:gd name="connsiteY116" fmla="*/ 975598 h 1145815"/>
              <a:gd name="connsiteX117" fmla="*/ 268545 w 1145815"/>
              <a:gd name="connsiteY117" fmla="*/ 975598 h 1145815"/>
              <a:gd name="connsiteX118" fmla="*/ 268545 w 1145815"/>
              <a:gd name="connsiteY118" fmla="*/ 865839 h 1145815"/>
              <a:gd name="connsiteX119" fmla="*/ 291223 w 1145815"/>
              <a:gd name="connsiteY119" fmla="*/ 843527 h 1145815"/>
              <a:gd name="connsiteX120" fmla="*/ 313542 w 1145815"/>
              <a:gd name="connsiteY120" fmla="*/ 865839 h 1145815"/>
              <a:gd name="connsiteX121" fmla="*/ 313542 w 1145815"/>
              <a:gd name="connsiteY121" fmla="*/ 975598 h 1145815"/>
              <a:gd name="connsiteX122" fmla="*/ 366819 w 1145815"/>
              <a:gd name="connsiteY122" fmla="*/ 975598 h 1145815"/>
              <a:gd name="connsiteX123" fmla="*/ 366819 w 1145815"/>
              <a:gd name="connsiteY123" fmla="*/ 648839 h 1145815"/>
              <a:gd name="connsiteX124" fmla="*/ 389498 w 1145815"/>
              <a:gd name="connsiteY124" fmla="*/ 626168 h 1145815"/>
              <a:gd name="connsiteX125" fmla="*/ 490292 w 1145815"/>
              <a:gd name="connsiteY125" fmla="*/ 626168 h 1145815"/>
              <a:gd name="connsiteX126" fmla="*/ 512611 w 1145815"/>
              <a:gd name="connsiteY126" fmla="*/ 648839 h 1145815"/>
              <a:gd name="connsiteX127" fmla="*/ 512611 w 1145815"/>
              <a:gd name="connsiteY127" fmla="*/ 867998 h 1145815"/>
              <a:gd name="connsiteX128" fmla="*/ 566248 w 1145815"/>
              <a:gd name="connsiteY128" fmla="*/ 867998 h 1145815"/>
              <a:gd name="connsiteX129" fmla="*/ 566248 w 1145815"/>
              <a:gd name="connsiteY129" fmla="*/ 621849 h 1145815"/>
              <a:gd name="connsiteX130" fmla="*/ 499291 w 1145815"/>
              <a:gd name="connsiteY130" fmla="*/ 554554 h 1145815"/>
              <a:gd name="connsiteX131" fmla="*/ 313542 w 1145815"/>
              <a:gd name="connsiteY131" fmla="*/ 554554 h 1145815"/>
              <a:gd name="connsiteX132" fmla="*/ 313542 w 1145815"/>
              <a:gd name="connsiteY132" fmla="*/ 683746 h 1145815"/>
              <a:gd name="connsiteX133" fmla="*/ 291223 w 1145815"/>
              <a:gd name="connsiteY133" fmla="*/ 705698 h 1145815"/>
              <a:gd name="connsiteX134" fmla="*/ 268545 w 1145815"/>
              <a:gd name="connsiteY134" fmla="*/ 683746 h 1145815"/>
              <a:gd name="connsiteX135" fmla="*/ 268545 w 1145815"/>
              <a:gd name="connsiteY135" fmla="*/ 556713 h 1145815"/>
              <a:gd name="connsiteX136" fmla="*/ 179270 w 1145815"/>
              <a:gd name="connsiteY136" fmla="*/ 447314 h 1145815"/>
              <a:gd name="connsiteX137" fmla="*/ 179270 w 1145815"/>
              <a:gd name="connsiteY137" fmla="*/ 331437 h 1145815"/>
              <a:gd name="connsiteX138" fmla="*/ 290503 w 1145815"/>
              <a:gd name="connsiteY138" fmla="*/ 188210 h 1145815"/>
              <a:gd name="connsiteX139" fmla="*/ 268545 w 1145815"/>
              <a:gd name="connsiteY139" fmla="*/ 124514 h 1145815"/>
              <a:gd name="connsiteX140" fmla="*/ 268545 w 1145815"/>
              <a:gd name="connsiteY140" fmla="*/ 104001 h 1145815"/>
              <a:gd name="connsiteX141" fmla="*/ 372579 w 1145815"/>
              <a:gd name="connsiteY141" fmla="*/ 0 h 1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145815" h="1145815">
                <a:moveTo>
                  <a:pt x="67316" y="1020222"/>
                </a:moveTo>
                <a:cubicBezTo>
                  <a:pt x="55077" y="1020222"/>
                  <a:pt x="44997" y="1030298"/>
                  <a:pt x="44997" y="1042893"/>
                </a:cubicBezTo>
                <a:lnTo>
                  <a:pt x="44997" y="1100832"/>
                </a:lnTo>
                <a:lnTo>
                  <a:pt x="366819" y="1100832"/>
                </a:lnTo>
                <a:lnTo>
                  <a:pt x="366819" y="1042893"/>
                </a:lnTo>
                <a:cubicBezTo>
                  <a:pt x="366819" y="1030298"/>
                  <a:pt x="357100" y="1020222"/>
                  <a:pt x="344860" y="1020222"/>
                </a:cubicBezTo>
                <a:close/>
                <a:moveTo>
                  <a:pt x="434135" y="912982"/>
                </a:moveTo>
                <a:cubicBezTo>
                  <a:pt x="421896" y="912982"/>
                  <a:pt x="411816" y="923058"/>
                  <a:pt x="411816" y="935293"/>
                </a:cubicBezTo>
                <a:lnTo>
                  <a:pt x="411816" y="1100832"/>
                </a:lnTo>
                <a:lnTo>
                  <a:pt x="733998" y="1100832"/>
                </a:lnTo>
                <a:lnTo>
                  <a:pt x="733998" y="935293"/>
                </a:lnTo>
                <a:cubicBezTo>
                  <a:pt x="733998" y="923058"/>
                  <a:pt x="723919" y="912982"/>
                  <a:pt x="711679" y="912982"/>
                </a:cubicBezTo>
                <a:close/>
                <a:moveTo>
                  <a:pt x="801314" y="841368"/>
                </a:moveTo>
                <a:cubicBezTo>
                  <a:pt x="789075" y="841368"/>
                  <a:pt x="778996" y="851444"/>
                  <a:pt x="778996" y="863680"/>
                </a:cubicBezTo>
                <a:lnTo>
                  <a:pt x="778996" y="1100832"/>
                </a:lnTo>
                <a:lnTo>
                  <a:pt x="1101178" y="1100832"/>
                </a:lnTo>
                <a:lnTo>
                  <a:pt x="1101178" y="863680"/>
                </a:lnTo>
                <a:cubicBezTo>
                  <a:pt x="1101178" y="851444"/>
                  <a:pt x="1091098" y="841368"/>
                  <a:pt x="1078859" y="841368"/>
                </a:cubicBezTo>
                <a:close/>
                <a:moveTo>
                  <a:pt x="292894" y="747713"/>
                </a:moveTo>
                <a:cubicBezTo>
                  <a:pt x="298740" y="747713"/>
                  <a:pt x="304586" y="750202"/>
                  <a:pt x="308971" y="754114"/>
                </a:cubicBezTo>
                <a:cubicBezTo>
                  <a:pt x="313355" y="758381"/>
                  <a:pt x="315547" y="764071"/>
                  <a:pt x="315547" y="769760"/>
                </a:cubicBezTo>
                <a:cubicBezTo>
                  <a:pt x="315547" y="775450"/>
                  <a:pt x="313355" y="781140"/>
                  <a:pt x="308971" y="785407"/>
                </a:cubicBezTo>
                <a:cubicBezTo>
                  <a:pt x="304586" y="789674"/>
                  <a:pt x="298740" y="791808"/>
                  <a:pt x="292894" y="791808"/>
                </a:cubicBezTo>
                <a:cubicBezTo>
                  <a:pt x="286682" y="791808"/>
                  <a:pt x="280836" y="789674"/>
                  <a:pt x="276817" y="785407"/>
                </a:cubicBezTo>
                <a:cubicBezTo>
                  <a:pt x="272432" y="781140"/>
                  <a:pt x="269875" y="775450"/>
                  <a:pt x="269875" y="769760"/>
                </a:cubicBezTo>
                <a:cubicBezTo>
                  <a:pt x="269875" y="764071"/>
                  <a:pt x="272432" y="758381"/>
                  <a:pt x="276817" y="754114"/>
                </a:cubicBezTo>
                <a:cubicBezTo>
                  <a:pt x="280836" y="750202"/>
                  <a:pt x="286682" y="747713"/>
                  <a:pt x="292894" y="747713"/>
                </a:cubicBezTo>
                <a:close/>
                <a:moveTo>
                  <a:pt x="895172" y="704850"/>
                </a:moveTo>
                <a:cubicBezTo>
                  <a:pt x="901218" y="704850"/>
                  <a:pt x="906907" y="706984"/>
                  <a:pt x="910819" y="711251"/>
                </a:cubicBezTo>
                <a:cubicBezTo>
                  <a:pt x="915086" y="715163"/>
                  <a:pt x="917220" y="720852"/>
                  <a:pt x="917220" y="726897"/>
                </a:cubicBezTo>
                <a:cubicBezTo>
                  <a:pt x="917220" y="732587"/>
                  <a:pt x="915086" y="738277"/>
                  <a:pt x="910819" y="742544"/>
                </a:cubicBezTo>
                <a:cubicBezTo>
                  <a:pt x="906907" y="746455"/>
                  <a:pt x="901218" y="748945"/>
                  <a:pt x="895172" y="748945"/>
                </a:cubicBezTo>
                <a:cubicBezTo>
                  <a:pt x="889483" y="748945"/>
                  <a:pt x="883438" y="746455"/>
                  <a:pt x="879526" y="742544"/>
                </a:cubicBezTo>
                <a:cubicBezTo>
                  <a:pt x="875614" y="738277"/>
                  <a:pt x="873125" y="732587"/>
                  <a:pt x="873125" y="726897"/>
                </a:cubicBezTo>
                <a:cubicBezTo>
                  <a:pt x="873125" y="720852"/>
                  <a:pt x="875614" y="715163"/>
                  <a:pt x="879526" y="711251"/>
                </a:cubicBezTo>
                <a:cubicBezTo>
                  <a:pt x="883438" y="706984"/>
                  <a:pt x="889483" y="704850"/>
                  <a:pt x="895172" y="704850"/>
                </a:cubicBezTo>
                <a:close/>
                <a:moveTo>
                  <a:pt x="411816" y="671151"/>
                </a:moveTo>
                <a:lnTo>
                  <a:pt x="411816" y="871957"/>
                </a:lnTo>
                <a:cubicBezTo>
                  <a:pt x="418656" y="869438"/>
                  <a:pt x="426576" y="867998"/>
                  <a:pt x="434135" y="867998"/>
                </a:cubicBezTo>
                <a:lnTo>
                  <a:pt x="467973" y="867998"/>
                </a:lnTo>
                <a:lnTo>
                  <a:pt x="467973" y="671151"/>
                </a:lnTo>
                <a:close/>
                <a:moveTo>
                  <a:pt x="326861" y="228515"/>
                </a:moveTo>
                <a:cubicBezTo>
                  <a:pt x="270344" y="228515"/>
                  <a:pt x="223907" y="274578"/>
                  <a:pt x="223907" y="331437"/>
                </a:cubicBezTo>
                <a:lnTo>
                  <a:pt x="223907" y="447314"/>
                </a:lnTo>
                <a:cubicBezTo>
                  <a:pt x="223907" y="476463"/>
                  <a:pt x="242626" y="501294"/>
                  <a:pt x="268545" y="510651"/>
                </a:cubicBezTo>
                <a:lnTo>
                  <a:pt x="268545" y="354109"/>
                </a:lnTo>
                <a:cubicBezTo>
                  <a:pt x="268545" y="341873"/>
                  <a:pt x="278984" y="331797"/>
                  <a:pt x="291223" y="331797"/>
                </a:cubicBezTo>
                <a:cubicBezTo>
                  <a:pt x="303463" y="331797"/>
                  <a:pt x="313542" y="341873"/>
                  <a:pt x="313542" y="354109"/>
                </a:cubicBezTo>
                <a:lnTo>
                  <a:pt x="313542" y="509931"/>
                </a:lnTo>
                <a:lnTo>
                  <a:pt x="428015" y="509931"/>
                </a:lnTo>
                <a:lnTo>
                  <a:pt x="428015" y="354109"/>
                </a:lnTo>
                <a:cubicBezTo>
                  <a:pt x="428015" y="341873"/>
                  <a:pt x="438095" y="331797"/>
                  <a:pt x="450334" y="331797"/>
                </a:cubicBezTo>
                <a:cubicBezTo>
                  <a:pt x="462934" y="331797"/>
                  <a:pt x="472653" y="341873"/>
                  <a:pt x="472653" y="354109"/>
                </a:cubicBezTo>
                <a:lnTo>
                  <a:pt x="472653" y="413487"/>
                </a:lnTo>
                <a:cubicBezTo>
                  <a:pt x="472653" y="430760"/>
                  <a:pt x="486692" y="444435"/>
                  <a:pt x="503611" y="444435"/>
                </a:cubicBezTo>
                <a:lnTo>
                  <a:pt x="619525" y="444435"/>
                </a:lnTo>
                <a:cubicBezTo>
                  <a:pt x="631404" y="444435"/>
                  <a:pt x="641123" y="434719"/>
                  <a:pt x="641123" y="422843"/>
                </a:cubicBezTo>
                <a:cubicBezTo>
                  <a:pt x="641123" y="410967"/>
                  <a:pt x="631404" y="401251"/>
                  <a:pt x="619525" y="401251"/>
                </a:cubicBezTo>
                <a:lnTo>
                  <a:pt x="539969" y="401251"/>
                </a:lnTo>
                <a:cubicBezTo>
                  <a:pt x="527370" y="401251"/>
                  <a:pt x="517290" y="391535"/>
                  <a:pt x="517290" y="378939"/>
                </a:cubicBezTo>
                <a:lnTo>
                  <a:pt x="517290" y="331437"/>
                </a:lnTo>
                <a:cubicBezTo>
                  <a:pt x="517290" y="274578"/>
                  <a:pt x="471213" y="228515"/>
                  <a:pt x="414336" y="228515"/>
                </a:cubicBezTo>
                <a:close/>
                <a:moveTo>
                  <a:pt x="372579" y="44623"/>
                </a:moveTo>
                <a:cubicBezTo>
                  <a:pt x="340180" y="44623"/>
                  <a:pt x="313542" y="71254"/>
                  <a:pt x="313542" y="104001"/>
                </a:cubicBezTo>
                <a:lnTo>
                  <a:pt x="313542" y="124514"/>
                </a:lnTo>
                <a:cubicBezTo>
                  <a:pt x="313542" y="157262"/>
                  <a:pt x="340180" y="183892"/>
                  <a:pt x="372579" y="183892"/>
                </a:cubicBezTo>
                <a:cubicBezTo>
                  <a:pt x="405697" y="183892"/>
                  <a:pt x="431975" y="157262"/>
                  <a:pt x="431975" y="124514"/>
                </a:cubicBezTo>
                <a:lnTo>
                  <a:pt x="431975" y="104001"/>
                </a:lnTo>
                <a:cubicBezTo>
                  <a:pt x="431975" y="71254"/>
                  <a:pt x="405697" y="44623"/>
                  <a:pt x="372579" y="44623"/>
                </a:cubicBezTo>
                <a:close/>
                <a:moveTo>
                  <a:pt x="372579" y="0"/>
                </a:moveTo>
                <a:cubicBezTo>
                  <a:pt x="430175" y="0"/>
                  <a:pt x="476973" y="46423"/>
                  <a:pt x="476973" y="104001"/>
                </a:cubicBezTo>
                <a:lnTo>
                  <a:pt x="476973" y="124514"/>
                </a:lnTo>
                <a:cubicBezTo>
                  <a:pt x="476973" y="148985"/>
                  <a:pt x="468333" y="171656"/>
                  <a:pt x="453934" y="189290"/>
                </a:cubicBezTo>
                <a:cubicBezTo>
                  <a:pt x="516570" y="206563"/>
                  <a:pt x="562288" y="263782"/>
                  <a:pt x="562288" y="331437"/>
                </a:cubicBezTo>
                <a:lnTo>
                  <a:pt x="562288" y="356628"/>
                </a:lnTo>
                <a:lnTo>
                  <a:pt x="619525" y="356628"/>
                </a:lnTo>
                <a:cubicBezTo>
                  <a:pt x="656243" y="356628"/>
                  <a:pt x="686121" y="386137"/>
                  <a:pt x="686121" y="422843"/>
                </a:cubicBezTo>
                <a:cubicBezTo>
                  <a:pt x="686121" y="459190"/>
                  <a:pt x="656243" y="489059"/>
                  <a:pt x="619525" y="489059"/>
                </a:cubicBezTo>
                <a:lnTo>
                  <a:pt x="503611" y="489059"/>
                </a:lnTo>
                <a:cubicBezTo>
                  <a:pt x="492812" y="489059"/>
                  <a:pt x="482372" y="486899"/>
                  <a:pt x="472653" y="482581"/>
                </a:cubicBezTo>
                <a:lnTo>
                  <a:pt x="472653" y="509931"/>
                </a:lnTo>
                <a:lnTo>
                  <a:pt x="499291" y="509931"/>
                </a:lnTo>
                <a:cubicBezTo>
                  <a:pt x="561208" y="509931"/>
                  <a:pt x="611245" y="559952"/>
                  <a:pt x="611245" y="621849"/>
                </a:cubicBezTo>
                <a:lnTo>
                  <a:pt x="611245" y="867998"/>
                </a:lnTo>
                <a:lnTo>
                  <a:pt x="711679" y="867998"/>
                </a:lnTo>
                <a:cubicBezTo>
                  <a:pt x="719599" y="867998"/>
                  <a:pt x="727159" y="869438"/>
                  <a:pt x="733998" y="871957"/>
                </a:cubicBezTo>
                <a:lnTo>
                  <a:pt x="733998" y="863680"/>
                </a:lnTo>
                <a:cubicBezTo>
                  <a:pt x="733998" y="826614"/>
                  <a:pt x="764236" y="796385"/>
                  <a:pt x="801314" y="796385"/>
                </a:cubicBezTo>
                <a:lnTo>
                  <a:pt x="962586" y="796385"/>
                </a:lnTo>
                <a:lnTo>
                  <a:pt x="962586" y="186051"/>
                </a:lnTo>
                <a:cubicBezTo>
                  <a:pt x="962586" y="177054"/>
                  <a:pt x="967625" y="169497"/>
                  <a:pt x="975545" y="165898"/>
                </a:cubicBezTo>
                <a:lnTo>
                  <a:pt x="939907" y="109399"/>
                </a:lnTo>
                <a:lnTo>
                  <a:pt x="904629" y="165898"/>
                </a:lnTo>
                <a:cubicBezTo>
                  <a:pt x="912188" y="169497"/>
                  <a:pt x="917588" y="177054"/>
                  <a:pt x="917588" y="186051"/>
                </a:cubicBezTo>
                <a:lnTo>
                  <a:pt x="917588" y="642362"/>
                </a:lnTo>
                <a:cubicBezTo>
                  <a:pt x="917588" y="654597"/>
                  <a:pt x="907509" y="664673"/>
                  <a:pt x="895269" y="664673"/>
                </a:cubicBezTo>
                <a:cubicBezTo>
                  <a:pt x="883030" y="664673"/>
                  <a:pt x="872950" y="654597"/>
                  <a:pt x="872950" y="642362"/>
                </a:cubicBezTo>
                <a:lnTo>
                  <a:pt x="872950" y="208363"/>
                </a:lnTo>
                <a:lnTo>
                  <a:pt x="865391" y="208363"/>
                </a:lnTo>
                <a:cubicBezTo>
                  <a:pt x="857471" y="208363"/>
                  <a:pt x="849912" y="204044"/>
                  <a:pt x="845952" y="197207"/>
                </a:cubicBezTo>
                <a:cubicBezTo>
                  <a:pt x="841992" y="190009"/>
                  <a:pt x="842352" y="181373"/>
                  <a:pt x="846672" y="174175"/>
                </a:cubicBezTo>
                <a:lnTo>
                  <a:pt x="921188" y="55419"/>
                </a:lnTo>
                <a:cubicBezTo>
                  <a:pt x="925148" y="48942"/>
                  <a:pt x="932347" y="44983"/>
                  <a:pt x="939907" y="44983"/>
                </a:cubicBezTo>
                <a:cubicBezTo>
                  <a:pt x="947826" y="44983"/>
                  <a:pt x="955026" y="48942"/>
                  <a:pt x="958986" y="55419"/>
                </a:cubicBezTo>
                <a:lnTo>
                  <a:pt x="1033502" y="174175"/>
                </a:lnTo>
                <a:cubicBezTo>
                  <a:pt x="1037821" y="181373"/>
                  <a:pt x="1038181" y="190009"/>
                  <a:pt x="1033862" y="197207"/>
                </a:cubicBezTo>
                <a:cubicBezTo>
                  <a:pt x="1030262" y="204044"/>
                  <a:pt x="1022702" y="208363"/>
                  <a:pt x="1014423" y="208363"/>
                </a:cubicBezTo>
                <a:lnTo>
                  <a:pt x="1007223" y="208363"/>
                </a:lnTo>
                <a:lnTo>
                  <a:pt x="1007223" y="796385"/>
                </a:lnTo>
                <a:lnTo>
                  <a:pt x="1078859" y="796385"/>
                </a:lnTo>
                <a:cubicBezTo>
                  <a:pt x="1115937" y="796385"/>
                  <a:pt x="1145815" y="826614"/>
                  <a:pt x="1145815" y="863680"/>
                </a:cubicBezTo>
                <a:lnTo>
                  <a:pt x="1145815" y="1123144"/>
                </a:lnTo>
                <a:cubicBezTo>
                  <a:pt x="1145815" y="1135739"/>
                  <a:pt x="1136096" y="1145815"/>
                  <a:pt x="1123496" y="1145815"/>
                </a:cubicBezTo>
                <a:lnTo>
                  <a:pt x="22318" y="1145815"/>
                </a:lnTo>
                <a:cubicBezTo>
                  <a:pt x="10079" y="1145815"/>
                  <a:pt x="0" y="1135739"/>
                  <a:pt x="0" y="1123144"/>
                </a:cubicBezTo>
                <a:lnTo>
                  <a:pt x="0" y="1042893"/>
                </a:lnTo>
                <a:cubicBezTo>
                  <a:pt x="0" y="1005827"/>
                  <a:pt x="30238" y="975598"/>
                  <a:pt x="67316" y="975598"/>
                </a:cubicBezTo>
                <a:lnTo>
                  <a:pt x="268545" y="975598"/>
                </a:lnTo>
                <a:lnTo>
                  <a:pt x="268545" y="865839"/>
                </a:lnTo>
                <a:cubicBezTo>
                  <a:pt x="268545" y="853604"/>
                  <a:pt x="278984" y="843527"/>
                  <a:pt x="291223" y="843527"/>
                </a:cubicBezTo>
                <a:cubicBezTo>
                  <a:pt x="303463" y="843527"/>
                  <a:pt x="313542" y="853604"/>
                  <a:pt x="313542" y="865839"/>
                </a:cubicBezTo>
                <a:lnTo>
                  <a:pt x="313542" y="975598"/>
                </a:lnTo>
                <a:lnTo>
                  <a:pt x="366819" y="975598"/>
                </a:lnTo>
                <a:lnTo>
                  <a:pt x="366819" y="648839"/>
                </a:lnTo>
                <a:cubicBezTo>
                  <a:pt x="366819" y="636244"/>
                  <a:pt x="377258" y="626168"/>
                  <a:pt x="389498" y="626168"/>
                </a:cubicBezTo>
                <a:lnTo>
                  <a:pt x="490292" y="626168"/>
                </a:lnTo>
                <a:cubicBezTo>
                  <a:pt x="502891" y="626168"/>
                  <a:pt x="512611" y="636244"/>
                  <a:pt x="512611" y="648839"/>
                </a:cubicBezTo>
                <a:lnTo>
                  <a:pt x="512611" y="867998"/>
                </a:lnTo>
                <a:lnTo>
                  <a:pt x="566248" y="867998"/>
                </a:lnTo>
                <a:lnTo>
                  <a:pt x="566248" y="621849"/>
                </a:lnTo>
                <a:cubicBezTo>
                  <a:pt x="566248" y="584783"/>
                  <a:pt x="536369" y="554554"/>
                  <a:pt x="499291" y="554554"/>
                </a:cubicBezTo>
                <a:lnTo>
                  <a:pt x="313542" y="554554"/>
                </a:lnTo>
                <a:lnTo>
                  <a:pt x="313542" y="683746"/>
                </a:lnTo>
                <a:cubicBezTo>
                  <a:pt x="313542" y="695982"/>
                  <a:pt x="303463" y="705698"/>
                  <a:pt x="291223" y="705698"/>
                </a:cubicBezTo>
                <a:cubicBezTo>
                  <a:pt x="278984" y="705698"/>
                  <a:pt x="268545" y="695982"/>
                  <a:pt x="268545" y="683746"/>
                </a:cubicBezTo>
                <a:lnTo>
                  <a:pt x="268545" y="556713"/>
                </a:lnTo>
                <a:cubicBezTo>
                  <a:pt x="217787" y="546277"/>
                  <a:pt x="179270" y="501294"/>
                  <a:pt x="179270" y="447314"/>
                </a:cubicBezTo>
                <a:lnTo>
                  <a:pt x="179270" y="331437"/>
                </a:lnTo>
                <a:cubicBezTo>
                  <a:pt x="179270" y="262343"/>
                  <a:pt x="226787" y="204404"/>
                  <a:pt x="290503" y="188210"/>
                </a:cubicBezTo>
                <a:cubicBezTo>
                  <a:pt x="276824" y="170577"/>
                  <a:pt x="268545" y="148625"/>
                  <a:pt x="268545" y="124514"/>
                </a:cubicBezTo>
                <a:lnTo>
                  <a:pt x="268545" y="104001"/>
                </a:lnTo>
                <a:cubicBezTo>
                  <a:pt x="268545" y="46423"/>
                  <a:pt x="315342" y="0"/>
                  <a:pt x="372579" y="0"/>
                </a:cubicBezTo>
                <a:close/>
              </a:path>
            </a:pathLst>
          </a:custGeom>
          <a:solidFill>
            <a:schemeClr val="bg2"/>
          </a:solidFill>
          <a:ln>
            <a:noFill/>
          </a:ln>
          <a:effectLst/>
        </p:spPr>
        <p:txBody>
          <a:bodyPr wrap="square" anchor="ctr">
            <a:noAutofit/>
          </a:bodyPr>
          <a:lstStyle/>
          <a:p>
            <a:pPr defTabSz="685846"/>
            <a:endParaRPr lang="en-US" sz="1350" dirty="0">
              <a:solidFill>
                <a:srgbClr val="7F7F7F"/>
              </a:solidFill>
              <a:latin typeface="Lato Light" panose="020F0502020204030203" pitchFamily="34" charset="0"/>
            </a:endParaRPr>
          </a:p>
        </p:txBody>
      </p:sp>
      <p:sp>
        <p:nvSpPr>
          <p:cNvPr id="19" name="Freeform 18">
            <a:extLst>
              <a:ext uri="{FF2B5EF4-FFF2-40B4-BE49-F238E27FC236}">
                <a16:creationId xmlns:a16="http://schemas.microsoft.com/office/drawing/2014/main" id="{A7D5E9E5-7514-BD40-B593-5766DF09AB8A}"/>
              </a:ext>
            </a:extLst>
          </p:cNvPr>
          <p:cNvSpPr>
            <a:spLocks noChangeAspect="1" noChangeArrowheads="1"/>
          </p:cNvSpPr>
          <p:nvPr/>
        </p:nvSpPr>
        <p:spPr bwMode="auto">
          <a:xfrm>
            <a:off x="6100539" y="1942177"/>
            <a:ext cx="512789" cy="331657"/>
          </a:xfrm>
          <a:custGeom>
            <a:avLst/>
            <a:gdLst>
              <a:gd name="connsiteX0" fmla="*/ 541769 w 1145819"/>
              <a:gd name="connsiteY0" fmla="*/ 621171 h 741084"/>
              <a:gd name="connsiteX1" fmla="*/ 539250 w 1145819"/>
              <a:gd name="connsiteY1" fmla="*/ 621531 h 741084"/>
              <a:gd name="connsiteX2" fmla="*/ 521251 w 1145819"/>
              <a:gd name="connsiteY2" fmla="*/ 630894 h 741084"/>
              <a:gd name="connsiteX3" fmla="*/ 503252 w 1145819"/>
              <a:gd name="connsiteY3" fmla="*/ 652860 h 741084"/>
              <a:gd name="connsiteX4" fmla="*/ 506851 w 1145819"/>
              <a:gd name="connsiteY4" fmla="*/ 689950 h 741084"/>
              <a:gd name="connsiteX5" fmla="*/ 526290 w 1145819"/>
              <a:gd name="connsiteY5" fmla="*/ 696072 h 741084"/>
              <a:gd name="connsiteX6" fmla="*/ 543929 w 1145819"/>
              <a:gd name="connsiteY6" fmla="*/ 686349 h 741084"/>
              <a:gd name="connsiteX7" fmla="*/ 562288 w 1145819"/>
              <a:gd name="connsiteY7" fmla="*/ 664383 h 741084"/>
              <a:gd name="connsiteX8" fmla="*/ 568048 w 1145819"/>
              <a:gd name="connsiteY8" fmla="*/ 644938 h 741084"/>
              <a:gd name="connsiteX9" fmla="*/ 558689 w 1145819"/>
              <a:gd name="connsiteY9" fmla="*/ 627293 h 741084"/>
              <a:gd name="connsiteX10" fmla="*/ 541769 w 1145819"/>
              <a:gd name="connsiteY10" fmla="*/ 621171 h 741084"/>
              <a:gd name="connsiteX11" fmla="*/ 466534 w 1145819"/>
              <a:gd name="connsiteY11" fmla="*/ 559234 h 741084"/>
              <a:gd name="connsiteX12" fmla="*/ 446015 w 1145819"/>
              <a:gd name="connsiteY12" fmla="*/ 568597 h 741084"/>
              <a:gd name="connsiteX13" fmla="*/ 428016 w 1145819"/>
              <a:gd name="connsiteY13" fmla="*/ 590923 h 741084"/>
              <a:gd name="connsiteX14" fmla="*/ 421896 w 1145819"/>
              <a:gd name="connsiteY14" fmla="*/ 610008 h 741084"/>
              <a:gd name="connsiteX15" fmla="*/ 431616 w 1145819"/>
              <a:gd name="connsiteY15" fmla="*/ 628013 h 741084"/>
              <a:gd name="connsiteX16" fmla="*/ 450695 w 1145819"/>
              <a:gd name="connsiteY16" fmla="*/ 634135 h 741084"/>
              <a:gd name="connsiteX17" fmla="*/ 468694 w 1145819"/>
              <a:gd name="connsiteY17" fmla="*/ 624412 h 741084"/>
              <a:gd name="connsiteX18" fmla="*/ 486693 w 1145819"/>
              <a:gd name="connsiteY18" fmla="*/ 602446 h 741084"/>
              <a:gd name="connsiteX19" fmla="*/ 483093 w 1145819"/>
              <a:gd name="connsiteY19" fmla="*/ 564996 h 741084"/>
              <a:gd name="connsiteX20" fmla="*/ 466534 w 1145819"/>
              <a:gd name="connsiteY20" fmla="*/ 559234 h 741084"/>
              <a:gd name="connsiteX21" fmla="*/ 390938 w 1145819"/>
              <a:gd name="connsiteY21" fmla="*/ 496937 h 741084"/>
              <a:gd name="connsiteX22" fmla="*/ 388418 w 1145819"/>
              <a:gd name="connsiteY22" fmla="*/ 497297 h 741084"/>
              <a:gd name="connsiteX23" fmla="*/ 370779 w 1145819"/>
              <a:gd name="connsiteY23" fmla="*/ 506660 h 741084"/>
              <a:gd name="connsiteX24" fmla="*/ 352420 w 1145819"/>
              <a:gd name="connsiteY24" fmla="*/ 528626 h 741084"/>
              <a:gd name="connsiteX25" fmla="*/ 346661 w 1145819"/>
              <a:gd name="connsiteY25" fmla="*/ 548071 h 741084"/>
              <a:gd name="connsiteX26" fmla="*/ 356020 w 1145819"/>
              <a:gd name="connsiteY26" fmla="*/ 566076 h 741084"/>
              <a:gd name="connsiteX27" fmla="*/ 393458 w 1145819"/>
              <a:gd name="connsiteY27" fmla="*/ 562475 h 741084"/>
              <a:gd name="connsiteX28" fmla="*/ 411457 w 1145819"/>
              <a:gd name="connsiteY28" fmla="*/ 540509 h 741084"/>
              <a:gd name="connsiteX29" fmla="*/ 417577 w 1145819"/>
              <a:gd name="connsiteY29" fmla="*/ 520704 h 741084"/>
              <a:gd name="connsiteX30" fmla="*/ 407857 w 1145819"/>
              <a:gd name="connsiteY30" fmla="*/ 503059 h 741084"/>
              <a:gd name="connsiteX31" fmla="*/ 390938 w 1145819"/>
              <a:gd name="connsiteY31" fmla="*/ 496937 h 741084"/>
              <a:gd name="connsiteX32" fmla="*/ 313182 w 1145819"/>
              <a:gd name="connsiteY32" fmla="*/ 435000 h 741084"/>
              <a:gd name="connsiteX33" fmla="*/ 295183 w 1145819"/>
              <a:gd name="connsiteY33" fmla="*/ 444363 h 741084"/>
              <a:gd name="connsiteX34" fmla="*/ 277185 w 1145819"/>
              <a:gd name="connsiteY34" fmla="*/ 466689 h 741084"/>
              <a:gd name="connsiteX35" fmla="*/ 280784 w 1145819"/>
              <a:gd name="connsiteY35" fmla="*/ 503779 h 741084"/>
              <a:gd name="connsiteX36" fmla="*/ 317862 w 1145819"/>
              <a:gd name="connsiteY36" fmla="*/ 500538 h 741084"/>
              <a:gd name="connsiteX37" fmla="*/ 336221 w 1145819"/>
              <a:gd name="connsiteY37" fmla="*/ 478212 h 741084"/>
              <a:gd name="connsiteX38" fmla="*/ 332621 w 1145819"/>
              <a:gd name="connsiteY38" fmla="*/ 440762 h 741084"/>
              <a:gd name="connsiteX39" fmla="*/ 315702 w 1145819"/>
              <a:gd name="connsiteY39" fmla="*/ 435000 h 741084"/>
              <a:gd name="connsiteX40" fmla="*/ 313182 w 1145819"/>
              <a:gd name="connsiteY40" fmla="*/ 435000 h 741084"/>
              <a:gd name="connsiteX41" fmla="*/ 1123772 w 1145819"/>
              <a:gd name="connsiteY41" fmla="*/ 235031 h 741084"/>
              <a:gd name="connsiteX42" fmla="*/ 1139419 w 1145819"/>
              <a:gd name="connsiteY42" fmla="*/ 241432 h 741084"/>
              <a:gd name="connsiteX43" fmla="*/ 1145819 w 1145819"/>
              <a:gd name="connsiteY43" fmla="*/ 257078 h 741084"/>
              <a:gd name="connsiteX44" fmla="*/ 1139419 w 1145819"/>
              <a:gd name="connsiteY44" fmla="*/ 272369 h 741084"/>
              <a:gd name="connsiteX45" fmla="*/ 1123772 w 1145819"/>
              <a:gd name="connsiteY45" fmla="*/ 279126 h 741084"/>
              <a:gd name="connsiteX46" fmla="*/ 1108126 w 1145819"/>
              <a:gd name="connsiteY46" fmla="*/ 272369 h 741084"/>
              <a:gd name="connsiteX47" fmla="*/ 1101725 w 1145819"/>
              <a:gd name="connsiteY47" fmla="*/ 257078 h 741084"/>
              <a:gd name="connsiteX48" fmla="*/ 1108126 w 1145819"/>
              <a:gd name="connsiteY48" fmla="*/ 241432 h 741084"/>
              <a:gd name="connsiteX49" fmla="*/ 1123772 w 1145819"/>
              <a:gd name="connsiteY49" fmla="*/ 235031 h 741084"/>
              <a:gd name="connsiteX50" fmla="*/ 22047 w 1145819"/>
              <a:gd name="connsiteY50" fmla="*/ 235031 h 741084"/>
              <a:gd name="connsiteX51" fmla="*/ 37694 w 1145819"/>
              <a:gd name="connsiteY51" fmla="*/ 241432 h 741084"/>
              <a:gd name="connsiteX52" fmla="*/ 44095 w 1145819"/>
              <a:gd name="connsiteY52" fmla="*/ 257078 h 741084"/>
              <a:gd name="connsiteX53" fmla="*/ 37694 w 1145819"/>
              <a:gd name="connsiteY53" fmla="*/ 272369 h 741084"/>
              <a:gd name="connsiteX54" fmla="*/ 22047 w 1145819"/>
              <a:gd name="connsiteY54" fmla="*/ 279126 h 741084"/>
              <a:gd name="connsiteX55" fmla="*/ 6401 w 1145819"/>
              <a:gd name="connsiteY55" fmla="*/ 272369 h 741084"/>
              <a:gd name="connsiteX56" fmla="*/ 0 w 1145819"/>
              <a:gd name="connsiteY56" fmla="*/ 257078 h 741084"/>
              <a:gd name="connsiteX57" fmla="*/ 6401 w 1145819"/>
              <a:gd name="connsiteY57" fmla="*/ 241432 h 741084"/>
              <a:gd name="connsiteX58" fmla="*/ 22047 w 1145819"/>
              <a:gd name="connsiteY58" fmla="*/ 235031 h 741084"/>
              <a:gd name="connsiteX59" fmla="*/ 641124 w 1145819"/>
              <a:gd name="connsiteY59" fmla="*/ 75981 h 741084"/>
              <a:gd name="connsiteX60" fmla="*/ 521251 w 1145819"/>
              <a:gd name="connsiteY60" fmla="*/ 125314 h 741084"/>
              <a:gd name="connsiteX61" fmla="*/ 352060 w 1145819"/>
              <a:gd name="connsiteY61" fmla="*/ 292761 h 741084"/>
              <a:gd name="connsiteX62" fmla="*/ 351340 w 1145819"/>
              <a:gd name="connsiteY62" fmla="*/ 341374 h 741084"/>
              <a:gd name="connsiteX63" fmla="*/ 393098 w 1145819"/>
              <a:gd name="connsiteY63" fmla="*/ 347496 h 741084"/>
              <a:gd name="connsiteX64" fmla="*/ 575968 w 1145819"/>
              <a:gd name="connsiteY64" fmla="*/ 244148 h 741084"/>
              <a:gd name="connsiteX65" fmla="*/ 586767 w 1145819"/>
              <a:gd name="connsiteY65" fmla="*/ 241267 h 741084"/>
              <a:gd name="connsiteX66" fmla="*/ 733999 w 1145819"/>
              <a:gd name="connsiteY66" fmla="*/ 241267 h 741084"/>
              <a:gd name="connsiteX67" fmla="*/ 756317 w 1145819"/>
              <a:gd name="connsiteY67" fmla="*/ 263593 h 741084"/>
              <a:gd name="connsiteX68" fmla="*/ 733999 w 1145819"/>
              <a:gd name="connsiteY68" fmla="*/ 286279 h 741084"/>
              <a:gd name="connsiteX69" fmla="*/ 718159 w 1145819"/>
              <a:gd name="connsiteY69" fmla="*/ 286279 h 741084"/>
              <a:gd name="connsiteX70" fmla="*/ 757915 w 1145819"/>
              <a:gd name="connsiteY70" fmla="*/ 325063 h 741084"/>
              <a:gd name="connsiteX71" fmla="*/ 877990 w 1145819"/>
              <a:gd name="connsiteY71" fmla="*/ 442202 h 741084"/>
              <a:gd name="connsiteX72" fmla="*/ 957906 w 1145819"/>
              <a:gd name="connsiteY72" fmla="*/ 399350 h 741084"/>
              <a:gd name="connsiteX73" fmla="*/ 957906 w 1145819"/>
              <a:gd name="connsiteY73" fmla="*/ 252432 h 741084"/>
              <a:gd name="connsiteX74" fmla="*/ 957906 w 1145819"/>
              <a:gd name="connsiteY74" fmla="*/ 75981 h 741084"/>
              <a:gd name="connsiteX75" fmla="*/ 506492 w 1145819"/>
              <a:gd name="connsiteY75" fmla="*/ 46993 h 741084"/>
              <a:gd name="connsiteX76" fmla="*/ 460054 w 1145819"/>
              <a:gd name="connsiteY76" fmla="*/ 51854 h 741084"/>
              <a:gd name="connsiteX77" fmla="*/ 276825 w 1145819"/>
              <a:gd name="connsiteY77" fmla="*/ 87864 h 741084"/>
              <a:gd name="connsiteX78" fmla="*/ 272505 w 1145819"/>
              <a:gd name="connsiteY78" fmla="*/ 88224 h 741084"/>
              <a:gd name="connsiteX79" fmla="*/ 187910 w 1145819"/>
              <a:gd name="connsiteY79" fmla="*/ 88224 h 741084"/>
              <a:gd name="connsiteX80" fmla="*/ 187910 w 1145819"/>
              <a:gd name="connsiteY80" fmla="*/ 423117 h 741084"/>
              <a:gd name="connsiteX81" fmla="*/ 238307 w 1145819"/>
              <a:gd name="connsiteY81" fmla="*/ 444003 h 741084"/>
              <a:gd name="connsiteX82" fmla="*/ 242626 w 1145819"/>
              <a:gd name="connsiteY82" fmla="*/ 438241 h 741084"/>
              <a:gd name="connsiteX83" fmla="*/ 260985 w 1145819"/>
              <a:gd name="connsiteY83" fmla="*/ 416275 h 741084"/>
              <a:gd name="connsiteX84" fmla="*/ 308863 w 1145819"/>
              <a:gd name="connsiteY84" fmla="*/ 390708 h 741084"/>
              <a:gd name="connsiteX85" fmla="*/ 361060 w 1145819"/>
              <a:gd name="connsiteY85" fmla="*/ 406552 h 741084"/>
              <a:gd name="connsiteX86" fmla="*/ 386258 w 1145819"/>
              <a:gd name="connsiteY86" fmla="*/ 452285 h 741084"/>
              <a:gd name="connsiteX87" fmla="*/ 402087 w 1145819"/>
              <a:gd name="connsiteY87" fmla="*/ 454291 h 741084"/>
              <a:gd name="connsiteX88" fmla="*/ 412897 w 1145819"/>
              <a:gd name="connsiteY88" fmla="*/ 455661 h 741084"/>
              <a:gd name="connsiteX89" fmla="*/ 436295 w 1145819"/>
              <a:gd name="connsiteY89" fmla="*/ 468489 h 741084"/>
              <a:gd name="connsiteX90" fmla="*/ 461494 w 1145819"/>
              <a:gd name="connsiteY90" fmla="*/ 514582 h 741084"/>
              <a:gd name="connsiteX91" fmla="*/ 511891 w 1145819"/>
              <a:gd name="connsiteY91" fmla="*/ 530786 h 741084"/>
              <a:gd name="connsiteX92" fmla="*/ 537090 w 1145819"/>
              <a:gd name="connsiteY92" fmla="*/ 576879 h 741084"/>
              <a:gd name="connsiteX93" fmla="*/ 587127 w 1145819"/>
              <a:gd name="connsiteY93" fmla="*/ 592723 h 741084"/>
              <a:gd name="connsiteX94" fmla="*/ 588207 w 1145819"/>
              <a:gd name="connsiteY94" fmla="*/ 593804 h 741084"/>
              <a:gd name="connsiteX95" fmla="*/ 590727 w 1145819"/>
              <a:gd name="connsiteY95" fmla="*/ 595604 h 741084"/>
              <a:gd name="connsiteX96" fmla="*/ 623125 w 1145819"/>
              <a:gd name="connsiteY96" fmla="*/ 627293 h 741084"/>
              <a:gd name="connsiteX97" fmla="*/ 644004 w 1145819"/>
              <a:gd name="connsiteY97" fmla="*/ 635575 h 741084"/>
              <a:gd name="connsiteX98" fmla="*/ 664523 w 1145819"/>
              <a:gd name="connsiteY98" fmla="*/ 626933 h 741084"/>
              <a:gd name="connsiteX99" fmla="*/ 664163 w 1145819"/>
              <a:gd name="connsiteY99" fmla="*/ 585161 h 741084"/>
              <a:gd name="connsiteX100" fmla="*/ 547889 w 1145819"/>
              <a:gd name="connsiteY100" fmla="*/ 472090 h 741084"/>
              <a:gd name="connsiteX101" fmla="*/ 547529 w 1145819"/>
              <a:gd name="connsiteY101" fmla="*/ 440402 h 741084"/>
              <a:gd name="connsiteX102" fmla="*/ 578847 w 1145819"/>
              <a:gd name="connsiteY102" fmla="*/ 440041 h 741084"/>
              <a:gd name="connsiteX103" fmla="*/ 635004 w 1145819"/>
              <a:gd name="connsiteY103" fmla="*/ 494416 h 741084"/>
              <a:gd name="connsiteX104" fmla="*/ 635724 w 1145819"/>
              <a:gd name="connsiteY104" fmla="*/ 495137 h 741084"/>
              <a:gd name="connsiteX105" fmla="*/ 751638 w 1145819"/>
              <a:gd name="connsiteY105" fmla="*/ 607848 h 741084"/>
              <a:gd name="connsiteX106" fmla="*/ 793395 w 1145819"/>
              <a:gd name="connsiteY106" fmla="*/ 607487 h 741084"/>
              <a:gd name="connsiteX107" fmla="*/ 792675 w 1145819"/>
              <a:gd name="connsiteY107" fmla="*/ 566076 h 741084"/>
              <a:gd name="connsiteX108" fmla="*/ 676402 w 1145819"/>
              <a:gd name="connsiteY108" fmla="*/ 453005 h 741084"/>
              <a:gd name="connsiteX109" fmla="*/ 676042 w 1145819"/>
              <a:gd name="connsiteY109" fmla="*/ 421316 h 741084"/>
              <a:gd name="connsiteX110" fmla="*/ 707720 w 1145819"/>
              <a:gd name="connsiteY110" fmla="*/ 420956 h 741084"/>
              <a:gd name="connsiteX111" fmla="*/ 780796 w 1145819"/>
              <a:gd name="connsiteY111" fmla="*/ 491896 h 741084"/>
              <a:gd name="connsiteX112" fmla="*/ 781156 w 1145819"/>
              <a:gd name="connsiteY112" fmla="*/ 491896 h 741084"/>
              <a:gd name="connsiteX113" fmla="*/ 855312 w 1145819"/>
              <a:gd name="connsiteY113" fmla="*/ 564276 h 741084"/>
              <a:gd name="connsiteX114" fmla="*/ 896709 w 1145819"/>
              <a:gd name="connsiteY114" fmla="*/ 563555 h 741084"/>
              <a:gd name="connsiteX115" fmla="*/ 904989 w 1145819"/>
              <a:gd name="connsiteY115" fmla="*/ 542670 h 741084"/>
              <a:gd name="connsiteX116" fmla="*/ 895989 w 1145819"/>
              <a:gd name="connsiteY116" fmla="*/ 522144 h 741084"/>
              <a:gd name="connsiteX117" fmla="*/ 711244 w 1145819"/>
              <a:gd name="connsiteY117" fmla="*/ 342013 h 741084"/>
              <a:gd name="connsiteX118" fmla="*/ 654083 w 1145819"/>
              <a:gd name="connsiteY118" fmla="*/ 286279 h 741084"/>
              <a:gd name="connsiteX119" fmla="*/ 592887 w 1145819"/>
              <a:gd name="connsiteY119" fmla="*/ 286279 h 741084"/>
              <a:gd name="connsiteX120" fmla="*/ 415057 w 1145819"/>
              <a:gd name="connsiteY120" fmla="*/ 386387 h 741084"/>
              <a:gd name="connsiteX121" fmla="*/ 376179 w 1145819"/>
              <a:gd name="connsiteY121" fmla="*/ 396830 h 741084"/>
              <a:gd name="connsiteX122" fmla="*/ 319302 w 1145819"/>
              <a:gd name="connsiteY122" fmla="*/ 372703 h 741084"/>
              <a:gd name="connsiteX123" fmla="*/ 320382 w 1145819"/>
              <a:gd name="connsiteY123" fmla="*/ 261072 h 741084"/>
              <a:gd name="connsiteX124" fmla="*/ 489932 w 1145819"/>
              <a:gd name="connsiteY124" fmla="*/ 93266 h 741084"/>
              <a:gd name="connsiteX125" fmla="*/ 552929 w 1145819"/>
              <a:gd name="connsiteY125" fmla="*/ 49694 h 741084"/>
              <a:gd name="connsiteX126" fmla="*/ 506492 w 1145819"/>
              <a:gd name="connsiteY126" fmla="*/ 46993 h 741084"/>
              <a:gd name="connsiteX127" fmla="*/ 22319 w 1145819"/>
              <a:gd name="connsiteY127" fmla="*/ 0 h 741084"/>
              <a:gd name="connsiteX128" fmla="*/ 143272 w 1145819"/>
              <a:gd name="connsiteY128" fmla="*/ 0 h 741084"/>
              <a:gd name="connsiteX129" fmla="*/ 187910 w 1145819"/>
              <a:gd name="connsiteY129" fmla="*/ 43212 h 741084"/>
              <a:gd name="connsiteX130" fmla="*/ 270705 w 1145819"/>
              <a:gd name="connsiteY130" fmla="*/ 43212 h 741084"/>
              <a:gd name="connsiteX131" fmla="*/ 451415 w 1145819"/>
              <a:gd name="connsiteY131" fmla="*/ 7922 h 741084"/>
              <a:gd name="connsiteX132" fmla="*/ 644364 w 1145819"/>
              <a:gd name="connsiteY132" fmla="*/ 30969 h 741084"/>
              <a:gd name="connsiteX133" fmla="*/ 645084 w 1145819"/>
              <a:gd name="connsiteY133" fmla="*/ 30969 h 741084"/>
              <a:gd name="connsiteX134" fmla="*/ 960066 w 1145819"/>
              <a:gd name="connsiteY134" fmla="*/ 30969 h 741084"/>
              <a:gd name="connsiteX135" fmla="*/ 1002543 w 1145819"/>
              <a:gd name="connsiteY135" fmla="*/ 0 h 741084"/>
              <a:gd name="connsiteX136" fmla="*/ 1123496 w 1145819"/>
              <a:gd name="connsiteY136" fmla="*/ 0 h 741084"/>
              <a:gd name="connsiteX137" fmla="*/ 1145815 w 1145819"/>
              <a:gd name="connsiteY137" fmla="*/ 22326 h 741084"/>
              <a:gd name="connsiteX138" fmla="*/ 1145815 w 1145819"/>
              <a:gd name="connsiteY138" fmla="*/ 169607 h 741084"/>
              <a:gd name="connsiteX139" fmla="*/ 1123496 w 1145819"/>
              <a:gd name="connsiteY139" fmla="*/ 192293 h 741084"/>
              <a:gd name="connsiteX140" fmla="*/ 1101178 w 1145819"/>
              <a:gd name="connsiteY140" fmla="*/ 169607 h 741084"/>
              <a:gd name="connsiteX141" fmla="*/ 1101178 w 1145819"/>
              <a:gd name="connsiteY141" fmla="*/ 44652 h 741084"/>
              <a:gd name="connsiteX142" fmla="*/ 1002543 w 1145819"/>
              <a:gd name="connsiteY142" fmla="*/ 44652 h 741084"/>
              <a:gd name="connsiteX143" fmla="*/ 1002543 w 1145819"/>
              <a:gd name="connsiteY143" fmla="*/ 236220 h 741084"/>
              <a:gd name="connsiteX144" fmla="*/ 1002543 w 1145819"/>
              <a:gd name="connsiteY144" fmla="*/ 469209 h 741084"/>
              <a:gd name="connsiteX145" fmla="*/ 1101178 w 1145819"/>
              <a:gd name="connsiteY145" fmla="*/ 469209 h 741084"/>
              <a:gd name="connsiteX146" fmla="*/ 1101178 w 1145819"/>
              <a:gd name="connsiteY146" fmla="*/ 343175 h 741084"/>
              <a:gd name="connsiteX147" fmla="*/ 1123496 w 1145819"/>
              <a:gd name="connsiteY147" fmla="*/ 320849 h 741084"/>
              <a:gd name="connsiteX148" fmla="*/ 1145815 w 1145819"/>
              <a:gd name="connsiteY148" fmla="*/ 343175 h 741084"/>
              <a:gd name="connsiteX149" fmla="*/ 1145815 w 1145819"/>
              <a:gd name="connsiteY149" fmla="*/ 491536 h 741084"/>
              <a:gd name="connsiteX150" fmla="*/ 1123496 w 1145819"/>
              <a:gd name="connsiteY150" fmla="*/ 514222 h 741084"/>
              <a:gd name="connsiteX151" fmla="*/ 1002543 w 1145819"/>
              <a:gd name="connsiteY151" fmla="*/ 514222 h 741084"/>
              <a:gd name="connsiteX152" fmla="*/ 957906 w 1145819"/>
              <a:gd name="connsiteY152" fmla="*/ 469209 h 741084"/>
              <a:gd name="connsiteX153" fmla="*/ 957906 w 1145819"/>
              <a:gd name="connsiteY153" fmla="*/ 450124 h 741084"/>
              <a:gd name="connsiteX154" fmla="*/ 911829 w 1145819"/>
              <a:gd name="connsiteY154" fmla="*/ 474971 h 741084"/>
              <a:gd name="connsiteX155" fmla="*/ 927308 w 1145819"/>
              <a:gd name="connsiteY155" fmla="*/ 490095 h 741084"/>
              <a:gd name="connsiteX156" fmla="*/ 949986 w 1145819"/>
              <a:gd name="connsiteY156" fmla="*/ 542310 h 741084"/>
              <a:gd name="connsiteX157" fmla="*/ 928748 w 1145819"/>
              <a:gd name="connsiteY157" fmla="*/ 594884 h 741084"/>
              <a:gd name="connsiteX158" fmla="*/ 875831 w 1145819"/>
              <a:gd name="connsiteY158" fmla="*/ 617210 h 741084"/>
              <a:gd name="connsiteX159" fmla="*/ 843072 w 1145819"/>
              <a:gd name="connsiteY159" fmla="*/ 609648 h 741084"/>
              <a:gd name="connsiteX160" fmla="*/ 825433 w 1145819"/>
              <a:gd name="connsiteY160" fmla="*/ 638816 h 741084"/>
              <a:gd name="connsiteX161" fmla="*/ 772156 w 1145819"/>
              <a:gd name="connsiteY161" fmla="*/ 661142 h 741084"/>
              <a:gd name="connsiteX162" fmla="*/ 720679 w 1145819"/>
              <a:gd name="connsiteY162" fmla="*/ 640256 h 741084"/>
              <a:gd name="connsiteX163" fmla="*/ 712760 w 1145819"/>
              <a:gd name="connsiteY163" fmla="*/ 632694 h 741084"/>
              <a:gd name="connsiteX164" fmla="*/ 696921 w 1145819"/>
              <a:gd name="connsiteY164" fmla="*/ 657901 h 741084"/>
              <a:gd name="connsiteX165" fmla="*/ 644364 w 1145819"/>
              <a:gd name="connsiteY165" fmla="*/ 680227 h 741084"/>
              <a:gd name="connsiteX166" fmla="*/ 643644 w 1145819"/>
              <a:gd name="connsiteY166" fmla="*/ 680227 h 741084"/>
              <a:gd name="connsiteX167" fmla="*/ 608726 w 1145819"/>
              <a:gd name="connsiteY167" fmla="*/ 671585 h 741084"/>
              <a:gd name="connsiteX168" fmla="*/ 596846 w 1145819"/>
              <a:gd name="connsiteY168" fmla="*/ 692831 h 741084"/>
              <a:gd name="connsiteX169" fmla="*/ 578487 w 1145819"/>
              <a:gd name="connsiteY169" fmla="*/ 715157 h 741084"/>
              <a:gd name="connsiteX170" fmla="*/ 530250 w 1145819"/>
              <a:gd name="connsiteY170" fmla="*/ 740724 h 741084"/>
              <a:gd name="connsiteX171" fmla="*/ 523411 w 1145819"/>
              <a:gd name="connsiteY171" fmla="*/ 741084 h 741084"/>
              <a:gd name="connsiteX172" fmla="*/ 478413 w 1145819"/>
              <a:gd name="connsiteY172" fmla="*/ 724880 h 741084"/>
              <a:gd name="connsiteX173" fmla="*/ 453215 w 1145819"/>
              <a:gd name="connsiteY173" fmla="*/ 678787 h 741084"/>
              <a:gd name="connsiteX174" fmla="*/ 448175 w 1145819"/>
              <a:gd name="connsiteY174" fmla="*/ 678787 h 741084"/>
              <a:gd name="connsiteX175" fmla="*/ 402817 w 1145819"/>
              <a:gd name="connsiteY175" fmla="*/ 662583 h 741084"/>
              <a:gd name="connsiteX176" fmla="*/ 377619 w 1145819"/>
              <a:gd name="connsiteY176" fmla="*/ 616490 h 741084"/>
              <a:gd name="connsiteX177" fmla="*/ 372939 w 1145819"/>
              <a:gd name="connsiteY177" fmla="*/ 616490 h 741084"/>
              <a:gd name="connsiteX178" fmla="*/ 327582 w 1145819"/>
              <a:gd name="connsiteY178" fmla="*/ 600646 h 741084"/>
              <a:gd name="connsiteX179" fmla="*/ 302383 w 1145819"/>
              <a:gd name="connsiteY179" fmla="*/ 554553 h 741084"/>
              <a:gd name="connsiteX180" fmla="*/ 297343 w 1145819"/>
              <a:gd name="connsiteY180" fmla="*/ 554553 h 741084"/>
              <a:gd name="connsiteX181" fmla="*/ 252346 w 1145819"/>
              <a:gd name="connsiteY181" fmla="*/ 538348 h 741084"/>
              <a:gd name="connsiteX182" fmla="*/ 226787 w 1145819"/>
              <a:gd name="connsiteY182" fmla="*/ 491536 h 741084"/>
              <a:gd name="connsiteX183" fmla="*/ 216348 w 1145819"/>
              <a:gd name="connsiteY183" fmla="*/ 483253 h 741084"/>
              <a:gd name="connsiteX184" fmla="*/ 187910 w 1145819"/>
              <a:gd name="connsiteY184" fmla="*/ 469209 h 741084"/>
              <a:gd name="connsiteX185" fmla="*/ 143272 w 1145819"/>
              <a:gd name="connsiteY185" fmla="*/ 514222 h 741084"/>
              <a:gd name="connsiteX186" fmla="*/ 22319 w 1145819"/>
              <a:gd name="connsiteY186" fmla="*/ 514222 h 741084"/>
              <a:gd name="connsiteX187" fmla="*/ 0 w 1145819"/>
              <a:gd name="connsiteY187" fmla="*/ 491536 h 741084"/>
              <a:gd name="connsiteX188" fmla="*/ 0 w 1145819"/>
              <a:gd name="connsiteY188" fmla="*/ 350017 h 741084"/>
              <a:gd name="connsiteX189" fmla="*/ 22319 w 1145819"/>
              <a:gd name="connsiteY189" fmla="*/ 327691 h 741084"/>
              <a:gd name="connsiteX190" fmla="*/ 44638 w 1145819"/>
              <a:gd name="connsiteY190" fmla="*/ 350017 h 741084"/>
              <a:gd name="connsiteX191" fmla="*/ 44638 w 1145819"/>
              <a:gd name="connsiteY191" fmla="*/ 469209 h 741084"/>
              <a:gd name="connsiteX192" fmla="*/ 143272 w 1145819"/>
              <a:gd name="connsiteY192" fmla="*/ 469209 h 741084"/>
              <a:gd name="connsiteX193" fmla="*/ 143272 w 1145819"/>
              <a:gd name="connsiteY193" fmla="*/ 44652 h 741084"/>
              <a:gd name="connsiteX194" fmla="*/ 44638 w 1145819"/>
              <a:gd name="connsiteY194" fmla="*/ 44652 h 741084"/>
              <a:gd name="connsiteX195" fmla="*/ 44638 w 1145819"/>
              <a:gd name="connsiteY195" fmla="*/ 166366 h 741084"/>
              <a:gd name="connsiteX196" fmla="*/ 22319 w 1145819"/>
              <a:gd name="connsiteY196" fmla="*/ 188692 h 741084"/>
              <a:gd name="connsiteX197" fmla="*/ 0 w 1145819"/>
              <a:gd name="connsiteY197" fmla="*/ 166366 h 741084"/>
              <a:gd name="connsiteX198" fmla="*/ 0 w 1145819"/>
              <a:gd name="connsiteY198" fmla="*/ 22326 h 741084"/>
              <a:gd name="connsiteX199" fmla="*/ 22319 w 1145819"/>
              <a:gd name="connsiteY199" fmla="*/ 0 h 74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145819" h="741084">
                <a:moveTo>
                  <a:pt x="541769" y="621171"/>
                </a:moveTo>
                <a:cubicBezTo>
                  <a:pt x="541050" y="621171"/>
                  <a:pt x="539970" y="621531"/>
                  <a:pt x="539250" y="621531"/>
                </a:cubicBezTo>
                <a:cubicBezTo>
                  <a:pt x="532410" y="621891"/>
                  <a:pt x="525930" y="625492"/>
                  <a:pt x="521251" y="630894"/>
                </a:cubicBezTo>
                <a:lnTo>
                  <a:pt x="503252" y="652860"/>
                </a:lnTo>
                <a:cubicBezTo>
                  <a:pt x="493892" y="664383"/>
                  <a:pt x="495332" y="680948"/>
                  <a:pt x="506851" y="689950"/>
                </a:cubicBezTo>
                <a:cubicBezTo>
                  <a:pt x="512251" y="694631"/>
                  <a:pt x="519091" y="696792"/>
                  <a:pt x="526290" y="696072"/>
                </a:cubicBezTo>
                <a:cubicBezTo>
                  <a:pt x="533130" y="695352"/>
                  <a:pt x="539610" y="692111"/>
                  <a:pt x="543929" y="686349"/>
                </a:cubicBezTo>
                <a:lnTo>
                  <a:pt x="562288" y="664383"/>
                </a:lnTo>
                <a:cubicBezTo>
                  <a:pt x="566608" y="658982"/>
                  <a:pt x="568768" y="652140"/>
                  <a:pt x="568048" y="644938"/>
                </a:cubicBezTo>
                <a:cubicBezTo>
                  <a:pt x="567328" y="638096"/>
                  <a:pt x="564088" y="631614"/>
                  <a:pt x="558689" y="627293"/>
                </a:cubicBezTo>
                <a:cubicBezTo>
                  <a:pt x="553649" y="623332"/>
                  <a:pt x="547889" y="621171"/>
                  <a:pt x="541769" y="621171"/>
                </a:cubicBezTo>
                <a:close/>
                <a:moveTo>
                  <a:pt x="466534" y="559234"/>
                </a:moveTo>
                <a:cubicBezTo>
                  <a:pt x="458974" y="559234"/>
                  <a:pt x="451415" y="562475"/>
                  <a:pt x="446015" y="568597"/>
                </a:cubicBezTo>
                <a:lnTo>
                  <a:pt x="428016" y="590923"/>
                </a:lnTo>
                <a:cubicBezTo>
                  <a:pt x="423336" y="596324"/>
                  <a:pt x="421176" y="603166"/>
                  <a:pt x="421896" y="610008"/>
                </a:cubicBezTo>
                <a:cubicBezTo>
                  <a:pt x="422616" y="617210"/>
                  <a:pt x="425856" y="623692"/>
                  <a:pt x="431616" y="628013"/>
                </a:cubicBezTo>
                <a:cubicBezTo>
                  <a:pt x="437015" y="632694"/>
                  <a:pt x="443495" y="634495"/>
                  <a:pt x="450695" y="634135"/>
                </a:cubicBezTo>
                <a:cubicBezTo>
                  <a:pt x="457894" y="633415"/>
                  <a:pt x="464374" y="629814"/>
                  <a:pt x="468694" y="624412"/>
                </a:cubicBezTo>
                <a:lnTo>
                  <a:pt x="486693" y="602446"/>
                </a:lnTo>
                <a:cubicBezTo>
                  <a:pt x="496052" y="590923"/>
                  <a:pt x="494252" y="574358"/>
                  <a:pt x="483093" y="564996"/>
                </a:cubicBezTo>
                <a:cubicBezTo>
                  <a:pt x="478413" y="561035"/>
                  <a:pt x="472293" y="559234"/>
                  <a:pt x="466534" y="559234"/>
                </a:cubicBezTo>
                <a:close/>
                <a:moveTo>
                  <a:pt x="390938" y="496937"/>
                </a:moveTo>
                <a:cubicBezTo>
                  <a:pt x="390218" y="496937"/>
                  <a:pt x="389138" y="496937"/>
                  <a:pt x="388418" y="497297"/>
                </a:cubicBezTo>
                <a:cubicBezTo>
                  <a:pt x="381579" y="497657"/>
                  <a:pt x="375099" y="501258"/>
                  <a:pt x="370779" y="506660"/>
                </a:cubicBezTo>
                <a:lnTo>
                  <a:pt x="352420" y="528626"/>
                </a:lnTo>
                <a:cubicBezTo>
                  <a:pt x="348100" y="534387"/>
                  <a:pt x="345581" y="541229"/>
                  <a:pt x="346661" y="548071"/>
                </a:cubicBezTo>
                <a:cubicBezTo>
                  <a:pt x="347381" y="555273"/>
                  <a:pt x="350620" y="561395"/>
                  <a:pt x="356020" y="566076"/>
                </a:cubicBezTo>
                <a:cubicBezTo>
                  <a:pt x="367179" y="575079"/>
                  <a:pt x="384098" y="573638"/>
                  <a:pt x="393458" y="562475"/>
                </a:cubicBezTo>
                <a:lnTo>
                  <a:pt x="411457" y="540509"/>
                </a:lnTo>
                <a:cubicBezTo>
                  <a:pt x="416137" y="534747"/>
                  <a:pt x="417937" y="527906"/>
                  <a:pt x="417577" y="520704"/>
                </a:cubicBezTo>
                <a:cubicBezTo>
                  <a:pt x="416497" y="513862"/>
                  <a:pt x="413257" y="507380"/>
                  <a:pt x="407857" y="503059"/>
                </a:cubicBezTo>
                <a:cubicBezTo>
                  <a:pt x="403177" y="499098"/>
                  <a:pt x="397058" y="496937"/>
                  <a:pt x="390938" y="496937"/>
                </a:cubicBezTo>
                <a:close/>
                <a:moveTo>
                  <a:pt x="313182" y="435000"/>
                </a:moveTo>
                <a:cubicBezTo>
                  <a:pt x="306343" y="435720"/>
                  <a:pt x="299863" y="438961"/>
                  <a:pt x="295183" y="444363"/>
                </a:cubicBezTo>
                <a:lnTo>
                  <a:pt x="277185" y="466689"/>
                </a:lnTo>
                <a:cubicBezTo>
                  <a:pt x="267825" y="477852"/>
                  <a:pt x="269265" y="494776"/>
                  <a:pt x="280784" y="503779"/>
                </a:cubicBezTo>
                <a:cubicBezTo>
                  <a:pt x="291944" y="513142"/>
                  <a:pt x="308503" y="511701"/>
                  <a:pt x="317862" y="500538"/>
                </a:cubicBezTo>
                <a:lnTo>
                  <a:pt x="336221" y="478212"/>
                </a:lnTo>
                <a:cubicBezTo>
                  <a:pt x="345221" y="467049"/>
                  <a:pt x="343781" y="450124"/>
                  <a:pt x="332621" y="440762"/>
                </a:cubicBezTo>
                <a:cubicBezTo>
                  <a:pt x="327942" y="437161"/>
                  <a:pt x="321822" y="435000"/>
                  <a:pt x="315702" y="435000"/>
                </a:cubicBezTo>
                <a:cubicBezTo>
                  <a:pt x="314982" y="435000"/>
                  <a:pt x="314262" y="435000"/>
                  <a:pt x="313182" y="435000"/>
                </a:cubicBezTo>
                <a:close/>
                <a:moveTo>
                  <a:pt x="1123772" y="235031"/>
                </a:moveTo>
                <a:cubicBezTo>
                  <a:pt x="1129462" y="235031"/>
                  <a:pt x="1135151" y="237165"/>
                  <a:pt x="1139419" y="241432"/>
                </a:cubicBezTo>
                <a:cubicBezTo>
                  <a:pt x="1143330" y="245344"/>
                  <a:pt x="1145819" y="251033"/>
                  <a:pt x="1145819" y="257078"/>
                </a:cubicBezTo>
                <a:cubicBezTo>
                  <a:pt x="1145819" y="262768"/>
                  <a:pt x="1143330" y="268458"/>
                  <a:pt x="1139419" y="272369"/>
                </a:cubicBezTo>
                <a:cubicBezTo>
                  <a:pt x="1135151" y="276636"/>
                  <a:pt x="1129462" y="279126"/>
                  <a:pt x="1123772" y="279126"/>
                </a:cubicBezTo>
                <a:cubicBezTo>
                  <a:pt x="1117727" y="279126"/>
                  <a:pt x="1112037" y="276636"/>
                  <a:pt x="1108126" y="272369"/>
                </a:cubicBezTo>
                <a:cubicBezTo>
                  <a:pt x="1103859" y="268458"/>
                  <a:pt x="1101725" y="262768"/>
                  <a:pt x="1101725" y="257078"/>
                </a:cubicBezTo>
                <a:cubicBezTo>
                  <a:pt x="1101725" y="251033"/>
                  <a:pt x="1103859" y="245344"/>
                  <a:pt x="1108126" y="241432"/>
                </a:cubicBezTo>
                <a:cubicBezTo>
                  <a:pt x="1112037" y="237165"/>
                  <a:pt x="1117727" y="235031"/>
                  <a:pt x="1123772" y="235031"/>
                </a:cubicBezTo>
                <a:close/>
                <a:moveTo>
                  <a:pt x="22047" y="235031"/>
                </a:moveTo>
                <a:cubicBezTo>
                  <a:pt x="27737" y="235031"/>
                  <a:pt x="33427" y="237165"/>
                  <a:pt x="37694" y="241432"/>
                </a:cubicBezTo>
                <a:cubicBezTo>
                  <a:pt x="41605" y="245344"/>
                  <a:pt x="44095" y="251033"/>
                  <a:pt x="44095" y="257078"/>
                </a:cubicBezTo>
                <a:cubicBezTo>
                  <a:pt x="44095" y="262768"/>
                  <a:pt x="41605" y="268458"/>
                  <a:pt x="37694" y="272369"/>
                </a:cubicBezTo>
                <a:cubicBezTo>
                  <a:pt x="33427" y="276636"/>
                  <a:pt x="27737" y="279126"/>
                  <a:pt x="22047" y="279126"/>
                </a:cubicBezTo>
                <a:cubicBezTo>
                  <a:pt x="16358" y="279126"/>
                  <a:pt x="10668" y="276636"/>
                  <a:pt x="6401" y="272369"/>
                </a:cubicBezTo>
                <a:cubicBezTo>
                  <a:pt x="2134" y="268458"/>
                  <a:pt x="0" y="262768"/>
                  <a:pt x="0" y="257078"/>
                </a:cubicBezTo>
                <a:cubicBezTo>
                  <a:pt x="0" y="251033"/>
                  <a:pt x="2134" y="245344"/>
                  <a:pt x="6401" y="241432"/>
                </a:cubicBezTo>
                <a:cubicBezTo>
                  <a:pt x="10668" y="237165"/>
                  <a:pt x="16358" y="235031"/>
                  <a:pt x="22047" y="235031"/>
                </a:cubicBezTo>
                <a:close/>
                <a:moveTo>
                  <a:pt x="641124" y="75981"/>
                </a:moveTo>
                <a:cubicBezTo>
                  <a:pt x="595766" y="75981"/>
                  <a:pt x="553289" y="93266"/>
                  <a:pt x="521251" y="125314"/>
                </a:cubicBezTo>
                <a:lnTo>
                  <a:pt x="352060" y="292761"/>
                </a:lnTo>
                <a:cubicBezTo>
                  <a:pt x="338741" y="306085"/>
                  <a:pt x="338021" y="328051"/>
                  <a:pt x="351340" y="341374"/>
                </a:cubicBezTo>
                <a:cubicBezTo>
                  <a:pt x="362500" y="352537"/>
                  <a:pt x="379419" y="355418"/>
                  <a:pt x="393098" y="347496"/>
                </a:cubicBezTo>
                <a:lnTo>
                  <a:pt x="575968" y="244148"/>
                </a:lnTo>
                <a:cubicBezTo>
                  <a:pt x="579207" y="242347"/>
                  <a:pt x="583167" y="241267"/>
                  <a:pt x="586767" y="241267"/>
                </a:cubicBezTo>
                <a:lnTo>
                  <a:pt x="733999" y="241267"/>
                </a:lnTo>
                <a:cubicBezTo>
                  <a:pt x="746238" y="241267"/>
                  <a:pt x="756317" y="251350"/>
                  <a:pt x="756317" y="263593"/>
                </a:cubicBezTo>
                <a:cubicBezTo>
                  <a:pt x="756317" y="276196"/>
                  <a:pt x="746238" y="286279"/>
                  <a:pt x="733999" y="286279"/>
                </a:cubicBezTo>
                <a:lnTo>
                  <a:pt x="718159" y="286279"/>
                </a:lnTo>
                <a:lnTo>
                  <a:pt x="757915" y="325063"/>
                </a:lnTo>
                <a:lnTo>
                  <a:pt x="877990" y="442202"/>
                </a:lnTo>
                <a:lnTo>
                  <a:pt x="957906" y="399350"/>
                </a:lnTo>
                <a:lnTo>
                  <a:pt x="957906" y="252432"/>
                </a:lnTo>
                <a:lnTo>
                  <a:pt x="957906" y="75981"/>
                </a:lnTo>
                <a:close/>
                <a:moveTo>
                  <a:pt x="506492" y="46993"/>
                </a:moveTo>
                <a:cubicBezTo>
                  <a:pt x="490922" y="47353"/>
                  <a:pt x="475353" y="48974"/>
                  <a:pt x="460054" y="51854"/>
                </a:cubicBezTo>
                <a:lnTo>
                  <a:pt x="276825" y="87864"/>
                </a:lnTo>
                <a:cubicBezTo>
                  <a:pt x="275745" y="87864"/>
                  <a:pt x="274305" y="88224"/>
                  <a:pt x="272505" y="88224"/>
                </a:cubicBezTo>
                <a:lnTo>
                  <a:pt x="187910" y="88224"/>
                </a:lnTo>
                <a:lnTo>
                  <a:pt x="187910" y="423117"/>
                </a:lnTo>
                <a:cubicBezTo>
                  <a:pt x="205909" y="426358"/>
                  <a:pt x="223188" y="433560"/>
                  <a:pt x="238307" y="444003"/>
                </a:cubicBezTo>
                <a:cubicBezTo>
                  <a:pt x="239747" y="441842"/>
                  <a:pt x="241187" y="440041"/>
                  <a:pt x="242626" y="438241"/>
                </a:cubicBezTo>
                <a:lnTo>
                  <a:pt x="260985" y="416275"/>
                </a:lnTo>
                <a:cubicBezTo>
                  <a:pt x="272865" y="401511"/>
                  <a:pt x="290144" y="392148"/>
                  <a:pt x="308863" y="390708"/>
                </a:cubicBezTo>
                <a:cubicBezTo>
                  <a:pt x="327942" y="388547"/>
                  <a:pt x="346301" y="394309"/>
                  <a:pt x="361060" y="406552"/>
                </a:cubicBezTo>
                <a:cubicBezTo>
                  <a:pt x="375459" y="418435"/>
                  <a:pt x="384098" y="435000"/>
                  <a:pt x="386258" y="452285"/>
                </a:cubicBezTo>
                <a:lnTo>
                  <a:pt x="402087" y="454291"/>
                </a:lnTo>
                <a:lnTo>
                  <a:pt x="412897" y="455661"/>
                </a:lnTo>
                <a:cubicBezTo>
                  <a:pt x="421356" y="458407"/>
                  <a:pt x="429276" y="462728"/>
                  <a:pt x="436295" y="468489"/>
                </a:cubicBezTo>
                <a:cubicBezTo>
                  <a:pt x="450335" y="480012"/>
                  <a:pt x="459334" y="496577"/>
                  <a:pt x="461494" y="514582"/>
                </a:cubicBezTo>
                <a:cubicBezTo>
                  <a:pt x="479133" y="513502"/>
                  <a:pt x="497132" y="518543"/>
                  <a:pt x="511891" y="530786"/>
                </a:cubicBezTo>
                <a:cubicBezTo>
                  <a:pt x="526290" y="542670"/>
                  <a:pt x="534930" y="559234"/>
                  <a:pt x="537090" y="576879"/>
                </a:cubicBezTo>
                <a:cubicBezTo>
                  <a:pt x="554369" y="575439"/>
                  <a:pt x="572368" y="580840"/>
                  <a:pt x="587127" y="592723"/>
                </a:cubicBezTo>
                <a:cubicBezTo>
                  <a:pt x="587487" y="593083"/>
                  <a:pt x="587847" y="593444"/>
                  <a:pt x="588207" y="593804"/>
                </a:cubicBezTo>
                <a:cubicBezTo>
                  <a:pt x="589287" y="594164"/>
                  <a:pt x="589647" y="594884"/>
                  <a:pt x="590727" y="595604"/>
                </a:cubicBezTo>
                <a:lnTo>
                  <a:pt x="623125" y="627293"/>
                </a:lnTo>
                <a:cubicBezTo>
                  <a:pt x="628525" y="632694"/>
                  <a:pt x="636444" y="635575"/>
                  <a:pt x="644004" y="635575"/>
                </a:cubicBezTo>
                <a:cubicBezTo>
                  <a:pt x="651563" y="635575"/>
                  <a:pt x="659123" y="632334"/>
                  <a:pt x="664523" y="626933"/>
                </a:cubicBezTo>
                <a:cubicBezTo>
                  <a:pt x="675682" y="615049"/>
                  <a:pt x="675682" y="596684"/>
                  <a:pt x="664163" y="585161"/>
                </a:cubicBezTo>
                <a:lnTo>
                  <a:pt x="547889" y="472090"/>
                </a:lnTo>
                <a:cubicBezTo>
                  <a:pt x="538890" y="463448"/>
                  <a:pt x="538890" y="449404"/>
                  <a:pt x="547529" y="440402"/>
                </a:cubicBezTo>
                <a:cubicBezTo>
                  <a:pt x="555809" y="431759"/>
                  <a:pt x="570208" y="431759"/>
                  <a:pt x="578847" y="440041"/>
                </a:cubicBezTo>
                <a:lnTo>
                  <a:pt x="635004" y="494416"/>
                </a:lnTo>
                <a:cubicBezTo>
                  <a:pt x="635004" y="494776"/>
                  <a:pt x="635364" y="494776"/>
                  <a:pt x="635724" y="495137"/>
                </a:cubicBezTo>
                <a:lnTo>
                  <a:pt x="751638" y="607848"/>
                </a:lnTo>
                <a:cubicBezTo>
                  <a:pt x="763517" y="619011"/>
                  <a:pt x="781876" y="619011"/>
                  <a:pt x="793395" y="607487"/>
                </a:cubicBezTo>
                <a:cubicBezTo>
                  <a:pt x="804555" y="595604"/>
                  <a:pt x="804195" y="577239"/>
                  <a:pt x="792675" y="566076"/>
                </a:cubicBezTo>
                <a:lnTo>
                  <a:pt x="676402" y="453005"/>
                </a:lnTo>
                <a:cubicBezTo>
                  <a:pt x="667762" y="444363"/>
                  <a:pt x="667402" y="429959"/>
                  <a:pt x="676042" y="421316"/>
                </a:cubicBezTo>
                <a:cubicBezTo>
                  <a:pt x="684681" y="412314"/>
                  <a:pt x="698721" y="411954"/>
                  <a:pt x="707720" y="420956"/>
                </a:cubicBezTo>
                <a:lnTo>
                  <a:pt x="780796" y="491896"/>
                </a:lnTo>
                <a:cubicBezTo>
                  <a:pt x="780796" y="491896"/>
                  <a:pt x="780796" y="491896"/>
                  <a:pt x="781156" y="491896"/>
                </a:cubicBezTo>
                <a:lnTo>
                  <a:pt x="855312" y="564276"/>
                </a:lnTo>
                <a:cubicBezTo>
                  <a:pt x="866831" y="575439"/>
                  <a:pt x="885550" y="575079"/>
                  <a:pt x="896709" y="563555"/>
                </a:cubicBezTo>
                <a:cubicBezTo>
                  <a:pt x="902109" y="558154"/>
                  <a:pt x="905349" y="550592"/>
                  <a:pt x="904989" y="542670"/>
                </a:cubicBezTo>
                <a:cubicBezTo>
                  <a:pt x="904989" y="534747"/>
                  <a:pt x="901749" y="527545"/>
                  <a:pt x="895989" y="522144"/>
                </a:cubicBezTo>
                <a:lnTo>
                  <a:pt x="711244" y="342013"/>
                </a:lnTo>
                <a:lnTo>
                  <a:pt x="654083" y="286279"/>
                </a:lnTo>
                <a:lnTo>
                  <a:pt x="592887" y="286279"/>
                </a:lnTo>
                <a:lnTo>
                  <a:pt x="415057" y="386387"/>
                </a:lnTo>
                <a:cubicBezTo>
                  <a:pt x="402817" y="393229"/>
                  <a:pt x="389498" y="396830"/>
                  <a:pt x="376179" y="396830"/>
                </a:cubicBezTo>
                <a:cubicBezTo>
                  <a:pt x="355300" y="396830"/>
                  <a:pt x="334421" y="388547"/>
                  <a:pt x="319302" y="372703"/>
                </a:cubicBezTo>
                <a:cubicBezTo>
                  <a:pt x="289064" y="341374"/>
                  <a:pt x="289784" y="291321"/>
                  <a:pt x="320382" y="261072"/>
                </a:cubicBezTo>
                <a:lnTo>
                  <a:pt x="489932" y="93266"/>
                </a:lnTo>
                <a:cubicBezTo>
                  <a:pt x="508291" y="74901"/>
                  <a:pt x="529890" y="60497"/>
                  <a:pt x="552929" y="49694"/>
                </a:cubicBezTo>
                <a:cubicBezTo>
                  <a:pt x="537630" y="47533"/>
                  <a:pt x="522061" y="46633"/>
                  <a:pt x="506492" y="46993"/>
                </a:cubicBezTo>
                <a:close/>
                <a:moveTo>
                  <a:pt x="22319" y="0"/>
                </a:moveTo>
                <a:lnTo>
                  <a:pt x="143272" y="0"/>
                </a:lnTo>
                <a:cubicBezTo>
                  <a:pt x="167391" y="0"/>
                  <a:pt x="187190" y="19445"/>
                  <a:pt x="187910" y="43212"/>
                </a:cubicBezTo>
                <a:lnTo>
                  <a:pt x="270705" y="43212"/>
                </a:lnTo>
                <a:lnTo>
                  <a:pt x="451415" y="7922"/>
                </a:lnTo>
                <a:cubicBezTo>
                  <a:pt x="516931" y="-4681"/>
                  <a:pt x="583527" y="3241"/>
                  <a:pt x="644364" y="30969"/>
                </a:cubicBezTo>
                <a:cubicBezTo>
                  <a:pt x="644364" y="30969"/>
                  <a:pt x="644724" y="30969"/>
                  <a:pt x="645084" y="30969"/>
                </a:cubicBezTo>
                <a:lnTo>
                  <a:pt x="960066" y="30969"/>
                </a:lnTo>
                <a:cubicBezTo>
                  <a:pt x="965825" y="12964"/>
                  <a:pt x="982744" y="0"/>
                  <a:pt x="1002543" y="0"/>
                </a:cubicBezTo>
                <a:lnTo>
                  <a:pt x="1123496" y="0"/>
                </a:lnTo>
                <a:cubicBezTo>
                  <a:pt x="1135736" y="0"/>
                  <a:pt x="1145815" y="10083"/>
                  <a:pt x="1145815" y="22326"/>
                </a:cubicBezTo>
                <a:lnTo>
                  <a:pt x="1145815" y="169607"/>
                </a:lnTo>
                <a:cubicBezTo>
                  <a:pt x="1145815" y="181850"/>
                  <a:pt x="1135736" y="192293"/>
                  <a:pt x="1123496" y="192293"/>
                </a:cubicBezTo>
                <a:cubicBezTo>
                  <a:pt x="1111257" y="192293"/>
                  <a:pt x="1101178" y="181850"/>
                  <a:pt x="1101178" y="169607"/>
                </a:cubicBezTo>
                <a:lnTo>
                  <a:pt x="1101178" y="44652"/>
                </a:lnTo>
                <a:lnTo>
                  <a:pt x="1002543" y="44652"/>
                </a:lnTo>
                <a:lnTo>
                  <a:pt x="1002543" y="236220"/>
                </a:lnTo>
                <a:lnTo>
                  <a:pt x="1002543" y="469209"/>
                </a:lnTo>
                <a:lnTo>
                  <a:pt x="1101178" y="469209"/>
                </a:lnTo>
                <a:lnTo>
                  <a:pt x="1101178" y="343175"/>
                </a:lnTo>
                <a:cubicBezTo>
                  <a:pt x="1101178" y="330931"/>
                  <a:pt x="1111257" y="320849"/>
                  <a:pt x="1123496" y="320849"/>
                </a:cubicBezTo>
                <a:cubicBezTo>
                  <a:pt x="1135736" y="320849"/>
                  <a:pt x="1145815" y="330931"/>
                  <a:pt x="1145815" y="343175"/>
                </a:cubicBezTo>
                <a:lnTo>
                  <a:pt x="1145815" y="491536"/>
                </a:lnTo>
                <a:cubicBezTo>
                  <a:pt x="1145815" y="503779"/>
                  <a:pt x="1135736" y="514222"/>
                  <a:pt x="1123496" y="514222"/>
                </a:cubicBezTo>
                <a:lnTo>
                  <a:pt x="1002543" y="514222"/>
                </a:lnTo>
                <a:cubicBezTo>
                  <a:pt x="978065" y="514222"/>
                  <a:pt x="957906" y="494056"/>
                  <a:pt x="957906" y="469209"/>
                </a:cubicBezTo>
                <a:lnTo>
                  <a:pt x="957906" y="450124"/>
                </a:lnTo>
                <a:lnTo>
                  <a:pt x="911829" y="474971"/>
                </a:lnTo>
                <a:lnTo>
                  <a:pt x="927308" y="490095"/>
                </a:lnTo>
                <a:cubicBezTo>
                  <a:pt x="941707" y="503779"/>
                  <a:pt x="949626" y="522504"/>
                  <a:pt x="949986" y="542310"/>
                </a:cubicBezTo>
                <a:cubicBezTo>
                  <a:pt x="949986" y="561755"/>
                  <a:pt x="942787" y="580840"/>
                  <a:pt x="928748" y="594884"/>
                </a:cubicBezTo>
                <a:cubicBezTo>
                  <a:pt x="914348" y="609648"/>
                  <a:pt x="894909" y="617210"/>
                  <a:pt x="875831" y="617210"/>
                </a:cubicBezTo>
                <a:cubicBezTo>
                  <a:pt x="864311" y="617210"/>
                  <a:pt x="853152" y="614689"/>
                  <a:pt x="843072" y="609648"/>
                </a:cubicBezTo>
                <a:cubicBezTo>
                  <a:pt x="839473" y="620091"/>
                  <a:pt x="833353" y="630174"/>
                  <a:pt x="825433" y="638816"/>
                </a:cubicBezTo>
                <a:cubicBezTo>
                  <a:pt x="811034" y="653580"/>
                  <a:pt x="791595" y="661142"/>
                  <a:pt x="772156" y="661142"/>
                </a:cubicBezTo>
                <a:cubicBezTo>
                  <a:pt x="753437" y="661142"/>
                  <a:pt x="735079" y="654300"/>
                  <a:pt x="720679" y="640256"/>
                </a:cubicBezTo>
                <a:lnTo>
                  <a:pt x="712760" y="632694"/>
                </a:lnTo>
                <a:cubicBezTo>
                  <a:pt x="709520" y="641697"/>
                  <a:pt x="704120" y="650699"/>
                  <a:pt x="696921" y="657901"/>
                </a:cubicBezTo>
                <a:cubicBezTo>
                  <a:pt x="682881" y="671945"/>
                  <a:pt x="664523" y="680227"/>
                  <a:pt x="644364" y="680227"/>
                </a:cubicBezTo>
                <a:cubicBezTo>
                  <a:pt x="644364" y="680227"/>
                  <a:pt x="644004" y="680227"/>
                  <a:pt x="643644" y="680227"/>
                </a:cubicBezTo>
                <a:cubicBezTo>
                  <a:pt x="631404" y="680227"/>
                  <a:pt x="619525" y="677347"/>
                  <a:pt x="608726" y="671585"/>
                </a:cubicBezTo>
                <a:cubicBezTo>
                  <a:pt x="606206" y="679147"/>
                  <a:pt x="602246" y="686349"/>
                  <a:pt x="596846" y="692831"/>
                </a:cubicBezTo>
                <a:lnTo>
                  <a:pt x="578487" y="715157"/>
                </a:lnTo>
                <a:cubicBezTo>
                  <a:pt x="566608" y="729561"/>
                  <a:pt x="549329" y="738563"/>
                  <a:pt x="530250" y="740724"/>
                </a:cubicBezTo>
                <a:cubicBezTo>
                  <a:pt x="528090" y="740724"/>
                  <a:pt x="525930" y="741084"/>
                  <a:pt x="523411" y="741084"/>
                </a:cubicBezTo>
                <a:cubicBezTo>
                  <a:pt x="506851" y="741084"/>
                  <a:pt x="491372" y="735323"/>
                  <a:pt x="478413" y="724880"/>
                </a:cubicBezTo>
                <a:cubicBezTo>
                  <a:pt x="463654" y="712636"/>
                  <a:pt x="455014" y="696072"/>
                  <a:pt x="453215" y="678787"/>
                </a:cubicBezTo>
                <a:cubicBezTo>
                  <a:pt x="451415" y="678787"/>
                  <a:pt x="449975" y="678787"/>
                  <a:pt x="448175" y="678787"/>
                </a:cubicBezTo>
                <a:cubicBezTo>
                  <a:pt x="431616" y="678787"/>
                  <a:pt x="415777" y="673025"/>
                  <a:pt x="402817" y="662583"/>
                </a:cubicBezTo>
                <a:cubicBezTo>
                  <a:pt x="388778" y="651059"/>
                  <a:pt x="379779" y="634495"/>
                  <a:pt x="377619" y="616490"/>
                </a:cubicBezTo>
                <a:cubicBezTo>
                  <a:pt x="376179" y="616490"/>
                  <a:pt x="374379" y="616490"/>
                  <a:pt x="372939" y="616490"/>
                </a:cubicBezTo>
                <a:cubicBezTo>
                  <a:pt x="356740" y="616490"/>
                  <a:pt x="340901" y="611449"/>
                  <a:pt x="327582" y="600646"/>
                </a:cubicBezTo>
                <a:cubicBezTo>
                  <a:pt x="313542" y="589122"/>
                  <a:pt x="304543" y="572558"/>
                  <a:pt x="302383" y="554553"/>
                </a:cubicBezTo>
                <a:cubicBezTo>
                  <a:pt x="300943" y="554553"/>
                  <a:pt x="299143" y="554553"/>
                  <a:pt x="297343" y="554553"/>
                </a:cubicBezTo>
                <a:cubicBezTo>
                  <a:pt x="281504" y="554553"/>
                  <a:pt x="265305" y="549511"/>
                  <a:pt x="252346" y="538348"/>
                </a:cubicBezTo>
                <a:cubicBezTo>
                  <a:pt x="237227" y="526105"/>
                  <a:pt x="228947" y="509180"/>
                  <a:pt x="226787" y="491536"/>
                </a:cubicBezTo>
                <a:lnTo>
                  <a:pt x="216348" y="483253"/>
                </a:lnTo>
                <a:cubicBezTo>
                  <a:pt x="208068" y="476772"/>
                  <a:pt x="198349" y="472090"/>
                  <a:pt x="187910" y="469209"/>
                </a:cubicBezTo>
                <a:cubicBezTo>
                  <a:pt x="187910" y="494056"/>
                  <a:pt x="167751" y="514222"/>
                  <a:pt x="143272" y="514222"/>
                </a:cubicBezTo>
                <a:lnTo>
                  <a:pt x="22319" y="514222"/>
                </a:lnTo>
                <a:cubicBezTo>
                  <a:pt x="9720" y="514222"/>
                  <a:pt x="0" y="503779"/>
                  <a:pt x="0" y="491536"/>
                </a:cubicBezTo>
                <a:lnTo>
                  <a:pt x="0" y="350017"/>
                </a:lnTo>
                <a:cubicBezTo>
                  <a:pt x="0" y="337413"/>
                  <a:pt x="9720" y="327691"/>
                  <a:pt x="22319" y="327691"/>
                </a:cubicBezTo>
                <a:cubicBezTo>
                  <a:pt x="34558" y="327691"/>
                  <a:pt x="44638" y="337413"/>
                  <a:pt x="44638" y="350017"/>
                </a:cubicBezTo>
                <a:lnTo>
                  <a:pt x="44638" y="469209"/>
                </a:lnTo>
                <a:lnTo>
                  <a:pt x="143272" y="469209"/>
                </a:lnTo>
                <a:lnTo>
                  <a:pt x="143272" y="44652"/>
                </a:lnTo>
                <a:lnTo>
                  <a:pt x="44638" y="44652"/>
                </a:lnTo>
                <a:lnTo>
                  <a:pt x="44638" y="166366"/>
                </a:lnTo>
                <a:cubicBezTo>
                  <a:pt x="44638" y="178609"/>
                  <a:pt x="34558" y="188692"/>
                  <a:pt x="22319" y="188692"/>
                </a:cubicBezTo>
                <a:cubicBezTo>
                  <a:pt x="9720" y="188692"/>
                  <a:pt x="0" y="178609"/>
                  <a:pt x="0" y="166366"/>
                </a:cubicBezTo>
                <a:lnTo>
                  <a:pt x="0" y="22326"/>
                </a:lnTo>
                <a:cubicBezTo>
                  <a:pt x="0" y="10083"/>
                  <a:pt x="9720" y="0"/>
                  <a:pt x="22319" y="0"/>
                </a:cubicBezTo>
                <a:close/>
              </a:path>
            </a:pathLst>
          </a:custGeom>
          <a:solidFill>
            <a:schemeClr val="bg2"/>
          </a:solidFill>
          <a:ln>
            <a:noFill/>
          </a:ln>
          <a:effectLst/>
        </p:spPr>
        <p:txBody>
          <a:bodyPr wrap="square" anchor="ctr">
            <a:noAutofit/>
          </a:bodyPr>
          <a:lstStyle/>
          <a:p>
            <a:pPr defTabSz="685846"/>
            <a:endParaRPr lang="en-US" sz="1350" dirty="0">
              <a:solidFill>
                <a:srgbClr val="7F7F7F"/>
              </a:solidFill>
              <a:latin typeface="Lato Light" panose="020F0502020204030203" pitchFamily="34" charset="0"/>
            </a:endParaRPr>
          </a:p>
        </p:txBody>
      </p:sp>
      <p:sp>
        <p:nvSpPr>
          <p:cNvPr id="20" name="Freeform 19">
            <a:extLst>
              <a:ext uri="{FF2B5EF4-FFF2-40B4-BE49-F238E27FC236}">
                <a16:creationId xmlns:a16="http://schemas.microsoft.com/office/drawing/2014/main" id="{31C94897-4776-3C42-B537-32F4A50443AF}"/>
              </a:ext>
            </a:extLst>
          </p:cNvPr>
          <p:cNvSpPr>
            <a:spLocks noChangeAspect="1" noChangeArrowheads="1"/>
          </p:cNvSpPr>
          <p:nvPr/>
        </p:nvSpPr>
        <p:spPr bwMode="auto">
          <a:xfrm>
            <a:off x="3445702" y="1825377"/>
            <a:ext cx="425115" cy="481897"/>
          </a:xfrm>
          <a:custGeom>
            <a:avLst/>
            <a:gdLst>
              <a:gd name="connsiteX0" fmla="*/ 216332 w 1093427"/>
              <a:gd name="connsiteY0" fmla="*/ 1190625 h 1239478"/>
              <a:gd name="connsiteX1" fmla="*/ 233701 w 1093427"/>
              <a:gd name="connsiteY1" fmla="*/ 1197916 h 1239478"/>
              <a:gd name="connsiteX2" fmla="*/ 240938 w 1093427"/>
              <a:gd name="connsiteY2" fmla="*/ 1215049 h 1239478"/>
              <a:gd name="connsiteX3" fmla="*/ 233701 w 1093427"/>
              <a:gd name="connsiteY3" fmla="*/ 1232547 h 1239478"/>
              <a:gd name="connsiteX4" fmla="*/ 216332 w 1093427"/>
              <a:gd name="connsiteY4" fmla="*/ 1239474 h 1239478"/>
              <a:gd name="connsiteX5" fmla="*/ 199324 w 1093427"/>
              <a:gd name="connsiteY5" fmla="*/ 1232547 h 1239478"/>
              <a:gd name="connsiteX6" fmla="*/ 192087 w 1093427"/>
              <a:gd name="connsiteY6" fmla="*/ 1215049 h 1239478"/>
              <a:gd name="connsiteX7" fmla="*/ 199324 w 1093427"/>
              <a:gd name="connsiteY7" fmla="*/ 1197916 h 1239478"/>
              <a:gd name="connsiteX8" fmla="*/ 216332 w 1093427"/>
              <a:gd name="connsiteY8" fmla="*/ 1190625 h 1239478"/>
              <a:gd name="connsiteX9" fmla="*/ 927894 w 1093427"/>
              <a:gd name="connsiteY9" fmla="*/ 1060450 h 1239478"/>
              <a:gd name="connsiteX10" fmla="*/ 944901 w 1093427"/>
              <a:gd name="connsiteY10" fmla="*/ 1067741 h 1239478"/>
              <a:gd name="connsiteX11" fmla="*/ 952138 w 1093427"/>
              <a:gd name="connsiteY11" fmla="*/ 1084874 h 1239478"/>
              <a:gd name="connsiteX12" fmla="*/ 944901 w 1093427"/>
              <a:gd name="connsiteY12" fmla="*/ 1102372 h 1239478"/>
              <a:gd name="connsiteX13" fmla="*/ 927894 w 1093427"/>
              <a:gd name="connsiteY13" fmla="*/ 1109299 h 1239478"/>
              <a:gd name="connsiteX14" fmla="*/ 910524 w 1093427"/>
              <a:gd name="connsiteY14" fmla="*/ 1102372 h 1239478"/>
              <a:gd name="connsiteX15" fmla="*/ 903287 w 1093427"/>
              <a:gd name="connsiteY15" fmla="*/ 1084874 h 1239478"/>
              <a:gd name="connsiteX16" fmla="*/ 910524 w 1093427"/>
              <a:gd name="connsiteY16" fmla="*/ 1067741 h 1239478"/>
              <a:gd name="connsiteX17" fmla="*/ 927894 w 1093427"/>
              <a:gd name="connsiteY17" fmla="*/ 1060450 h 1239478"/>
              <a:gd name="connsiteX18" fmla="*/ 753142 w 1093427"/>
              <a:gd name="connsiteY18" fmla="*/ 1060450 h 1239478"/>
              <a:gd name="connsiteX19" fmla="*/ 835944 w 1093427"/>
              <a:gd name="connsiteY19" fmla="*/ 1060450 h 1239478"/>
              <a:gd name="connsiteX20" fmla="*/ 860065 w 1093427"/>
              <a:gd name="connsiteY20" fmla="*/ 1084874 h 1239478"/>
              <a:gd name="connsiteX21" fmla="*/ 835944 w 1093427"/>
              <a:gd name="connsiteY21" fmla="*/ 1109299 h 1239478"/>
              <a:gd name="connsiteX22" fmla="*/ 753142 w 1093427"/>
              <a:gd name="connsiteY22" fmla="*/ 1109299 h 1239478"/>
              <a:gd name="connsiteX23" fmla="*/ 728662 w 1093427"/>
              <a:gd name="connsiteY23" fmla="*/ 1084874 h 1239478"/>
              <a:gd name="connsiteX24" fmla="*/ 753142 w 1093427"/>
              <a:gd name="connsiteY24" fmla="*/ 1060450 h 1239478"/>
              <a:gd name="connsiteX25" fmla="*/ 463842 w 1093427"/>
              <a:gd name="connsiteY25" fmla="*/ 844951 h 1239478"/>
              <a:gd name="connsiteX26" fmla="*/ 463842 w 1093427"/>
              <a:gd name="connsiteY26" fmla="*/ 917678 h 1239478"/>
              <a:gd name="connsiteX27" fmla="*/ 497725 w 1093427"/>
              <a:gd name="connsiteY27" fmla="*/ 951161 h 1239478"/>
              <a:gd name="connsiteX28" fmla="*/ 604421 w 1093427"/>
              <a:gd name="connsiteY28" fmla="*/ 951161 h 1239478"/>
              <a:gd name="connsiteX29" fmla="*/ 638305 w 1093427"/>
              <a:gd name="connsiteY29" fmla="*/ 917678 h 1239478"/>
              <a:gd name="connsiteX30" fmla="*/ 638305 w 1093427"/>
              <a:gd name="connsiteY30" fmla="*/ 844951 h 1239478"/>
              <a:gd name="connsiteX31" fmla="*/ 280557 w 1093427"/>
              <a:gd name="connsiteY31" fmla="*/ 831046 h 1239478"/>
              <a:gd name="connsiteX32" fmla="*/ 310373 w 1093427"/>
              <a:gd name="connsiteY32" fmla="*/ 847239 h 1239478"/>
              <a:gd name="connsiteX33" fmla="*/ 293849 w 1093427"/>
              <a:gd name="connsiteY33" fmla="*/ 877467 h 1239478"/>
              <a:gd name="connsiteX34" fmla="*/ 178177 w 1093427"/>
              <a:gd name="connsiteY34" fmla="*/ 910933 h 1239478"/>
              <a:gd name="connsiteX35" fmla="*/ 48496 w 1093427"/>
              <a:gd name="connsiteY35" fmla="*/ 1083303 h 1239478"/>
              <a:gd name="connsiteX36" fmla="*/ 48496 w 1093427"/>
              <a:gd name="connsiteY36" fmla="*/ 1191258 h 1239478"/>
              <a:gd name="connsiteX37" fmla="*/ 116031 w 1093427"/>
              <a:gd name="connsiteY37" fmla="*/ 1191258 h 1239478"/>
              <a:gd name="connsiteX38" fmla="*/ 140099 w 1093427"/>
              <a:gd name="connsiteY38" fmla="*/ 1215368 h 1239478"/>
              <a:gd name="connsiteX39" fmla="*/ 116031 w 1093427"/>
              <a:gd name="connsiteY39" fmla="*/ 1239478 h 1239478"/>
              <a:gd name="connsiteX40" fmla="*/ 24068 w 1093427"/>
              <a:gd name="connsiteY40" fmla="*/ 1239478 h 1239478"/>
              <a:gd name="connsiteX41" fmla="*/ 0 w 1093427"/>
              <a:gd name="connsiteY41" fmla="*/ 1215368 h 1239478"/>
              <a:gd name="connsiteX42" fmla="*/ 0 w 1093427"/>
              <a:gd name="connsiteY42" fmla="*/ 1083303 h 1239478"/>
              <a:gd name="connsiteX43" fmla="*/ 45981 w 1093427"/>
              <a:gd name="connsiteY43" fmla="*/ 946199 h 1239478"/>
              <a:gd name="connsiteX44" fmla="*/ 164527 w 1093427"/>
              <a:gd name="connsiteY44" fmla="*/ 864152 h 1239478"/>
              <a:gd name="connsiteX45" fmla="*/ 796541 w 1093427"/>
              <a:gd name="connsiteY45" fmla="*/ 825924 h 1239478"/>
              <a:gd name="connsiteX46" fmla="*/ 928611 w 1093427"/>
              <a:gd name="connsiteY46" fmla="*/ 864076 h 1239478"/>
              <a:gd name="connsiteX47" fmla="*/ 1047725 w 1093427"/>
              <a:gd name="connsiteY47" fmla="*/ 946139 h 1239478"/>
              <a:gd name="connsiteX48" fmla="*/ 1093427 w 1093427"/>
              <a:gd name="connsiteY48" fmla="*/ 1083271 h 1239478"/>
              <a:gd name="connsiteX49" fmla="*/ 1093427 w 1093427"/>
              <a:gd name="connsiteY49" fmla="*/ 1215363 h 1239478"/>
              <a:gd name="connsiteX50" fmla="*/ 1069317 w 1093427"/>
              <a:gd name="connsiteY50" fmla="*/ 1239478 h 1239478"/>
              <a:gd name="connsiteX51" fmla="*/ 311448 w 1093427"/>
              <a:gd name="connsiteY51" fmla="*/ 1239478 h 1239478"/>
              <a:gd name="connsiteX52" fmla="*/ 287337 w 1093427"/>
              <a:gd name="connsiteY52" fmla="*/ 1215363 h 1239478"/>
              <a:gd name="connsiteX53" fmla="*/ 311448 w 1093427"/>
              <a:gd name="connsiteY53" fmla="*/ 1191248 h 1239478"/>
              <a:gd name="connsiteX54" fmla="*/ 1045206 w 1093427"/>
              <a:gd name="connsiteY54" fmla="*/ 1191248 h 1239478"/>
              <a:gd name="connsiteX55" fmla="*/ 1045206 w 1093427"/>
              <a:gd name="connsiteY55" fmla="*/ 1083271 h 1239478"/>
              <a:gd name="connsiteX56" fmla="*/ 915296 w 1093427"/>
              <a:gd name="connsiteY56" fmla="*/ 910866 h 1239478"/>
              <a:gd name="connsiteX57" fmla="*/ 782866 w 1093427"/>
              <a:gd name="connsiteY57" fmla="*/ 872354 h 1239478"/>
              <a:gd name="connsiteX58" fmla="*/ 766673 w 1093427"/>
              <a:gd name="connsiteY58" fmla="*/ 842481 h 1239478"/>
              <a:gd name="connsiteX59" fmla="*/ 796541 w 1093427"/>
              <a:gd name="connsiteY59" fmla="*/ 825924 h 1239478"/>
              <a:gd name="connsiteX60" fmla="*/ 546100 w 1093427"/>
              <a:gd name="connsiteY60" fmla="*/ 445197 h 1239478"/>
              <a:gd name="connsiteX61" fmla="*/ 521517 w 1093427"/>
              <a:gd name="connsiteY61" fmla="*/ 469719 h 1239478"/>
              <a:gd name="connsiteX62" fmla="*/ 546100 w 1093427"/>
              <a:gd name="connsiteY62" fmla="*/ 493881 h 1239478"/>
              <a:gd name="connsiteX63" fmla="*/ 570321 w 1093427"/>
              <a:gd name="connsiteY63" fmla="*/ 469719 h 1239478"/>
              <a:gd name="connsiteX64" fmla="*/ 546100 w 1093427"/>
              <a:gd name="connsiteY64" fmla="*/ 445197 h 1239478"/>
              <a:gd name="connsiteX65" fmla="*/ 546100 w 1093427"/>
              <a:gd name="connsiteY65" fmla="*/ 396875 h 1239478"/>
              <a:gd name="connsiteX66" fmla="*/ 618763 w 1093427"/>
              <a:gd name="connsiteY66" fmla="*/ 469719 h 1239478"/>
              <a:gd name="connsiteX67" fmla="*/ 546100 w 1093427"/>
              <a:gd name="connsiteY67" fmla="*/ 542564 h 1239478"/>
              <a:gd name="connsiteX68" fmla="*/ 473075 w 1093427"/>
              <a:gd name="connsiteY68" fmla="*/ 469719 h 1239478"/>
              <a:gd name="connsiteX69" fmla="*/ 546100 w 1093427"/>
              <a:gd name="connsiteY69" fmla="*/ 396875 h 1239478"/>
              <a:gd name="connsiteX70" fmla="*/ 548910 w 1093427"/>
              <a:gd name="connsiteY70" fmla="*/ 179253 h 1239478"/>
              <a:gd name="connsiteX71" fmla="*/ 410854 w 1093427"/>
              <a:gd name="connsiteY71" fmla="*/ 214896 h 1239478"/>
              <a:gd name="connsiteX72" fmla="*/ 324344 w 1093427"/>
              <a:gd name="connsiteY72" fmla="*/ 302744 h 1239478"/>
              <a:gd name="connsiteX73" fmla="*/ 364715 w 1093427"/>
              <a:gd name="connsiteY73" fmla="*/ 618132 h 1239478"/>
              <a:gd name="connsiteX74" fmla="*/ 435005 w 1093427"/>
              <a:gd name="connsiteY74" fmla="*/ 792387 h 1239478"/>
              <a:gd name="connsiteX75" fmla="*/ 438970 w 1093427"/>
              <a:gd name="connsiteY75" fmla="*/ 796347 h 1239478"/>
              <a:gd name="connsiteX76" fmla="*/ 524039 w 1093427"/>
              <a:gd name="connsiteY76" fmla="*/ 796347 h 1239478"/>
              <a:gd name="connsiteX77" fmla="*/ 524039 w 1093427"/>
              <a:gd name="connsiteY77" fmla="*/ 619572 h 1239478"/>
              <a:gd name="connsiteX78" fmla="*/ 548190 w 1093427"/>
              <a:gd name="connsiteY78" fmla="*/ 595450 h 1239478"/>
              <a:gd name="connsiteX79" fmla="*/ 572340 w 1093427"/>
              <a:gd name="connsiteY79" fmla="*/ 619572 h 1239478"/>
              <a:gd name="connsiteX80" fmla="*/ 572340 w 1093427"/>
              <a:gd name="connsiteY80" fmla="*/ 796347 h 1239478"/>
              <a:gd name="connsiteX81" fmla="*/ 658130 w 1093427"/>
              <a:gd name="connsiteY81" fmla="*/ 796347 h 1239478"/>
              <a:gd name="connsiteX82" fmla="*/ 662095 w 1093427"/>
              <a:gd name="connsiteY82" fmla="*/ 792387 h 1239478"/>
              <a:gd name="connsiteX83" fmla="*/ 732745 w 1093427"/>
              <a:gd name="connsiteY83" fmla="*/ 617771 h 1239478"/>
              <a:gd name="connsiteX84" fmla="*/ 807000 w 1093427"/>
              <a:gd name="connsiteY84" fmla="*/ 437036 h 1239478"/>
              <a:gd name="connsiteX85" fmla="*/ 681920 w 1093427"/>
              <a:gd name="connsiteY85" fmla="*/ 216337 h 1239478"/>
              <a:gd name="connsiteX86" fmla="*/ 548910 w 1093427"/>
              <a:gd name="connsiteY86" fmla="*/ 179253 h 1239478"/>
              <a:gd name="connsiteX87" fmla="*/ 552019 w 1093427"/>
              <a:gd name="connsiteY87" fmla="*/ 130649 h 1239478"/>
              <a:gd name="connsiteX88" fmla="*/ 707152 w 1093427"/>
              <a:gd name="connsiteY88" fmla="*/ 174933 h 1239478"/>
              <a:gd name="connsiteX89" fmla="*/ 814569 w 1093427"/>
              <a:gd name="connsiteY89" fmla="*/ 284382 h 1239478"/>
              <a:gd name="connsiteX90" fmla="*/ 855301 w 1093427"/>
              <a:gd name="connsiteY90" fmla="*/ 437036 h 1239478"/>
              <a:gd name="connsiteX91" fmla="*/ 767349 w 1093427"/>
              <a:gd name="connsiteY91" fmla="*/ 651974 h 1239478"/>
              <a:gd name="connsiteX92" fmla="*/ 710397 w 1093427"/>
              <a:gd name="connsiteY92" fmla="*/ 792387 h 1239478"/>
              <a:gd name="connsiteX93" fmla="*/ 686606 w 1093427"/>
              <a:gd name="connsiteY93" fmla="*/ 836311 h 1239478"/>
              <a:gd name="connsiteX94" fmla="*/ 686606 w 1093427"/>
              <a:gd name="connsiteY94" fmla="*/ 917678 h 1239478"/>
              <a:gd name="connsiteX95" fmla="*/ 604421 w 1093427"/>
              <a:gd name="connsiteY95" fmla="*/ 999765 h 1239478"/>
              <a:gd name="connsiteX96" fmla="*/ 497725 w 1093427"/>
              <a:gd name="connsiteY96" fmla="*/ 999765 h 1239478"/>
              <a:gd name="connsiteX97" fmla="*/ 415180 w 1093427"/>
              <a:gd name="connsiteY97" fmla="*/ 917678 h 1239478"/>
              <a:gd name="connsiteX98" fmla="*/ 415180 w 1093427"/>
              <a:gd name="connsiteY98" fmla="*/ 838831 h 1239478"/>
              <a:gd name="connsiteX99" fmla="*/ 386703 w 1093427"/>
              <a:gd name="connsiteY99" fmla="*/ 792387 h 1239478"/>
              <a:gd name="connsiteX100" fmla="*/ 329751 w 1093427"/>
              <a:gd name="connsiteY100" fmla="*/ 651974 h 1239478"/>
              <a:gd name="connsiteX101" fmla="*/ 245764 w 1093427"/>
              <a:gd name="connsiteY101" fmla="*/ 485640 h 1239478"/>
              <a:gd name="connsiteX102" fmla="*/ 281089 w 1093427"/>
              <a:gd name="connsiteY102" fmla="*/ 280422 h 1239478"/>
              <a:gd name="connsiteX103" fmla="*/ 388506 w 1093427"/>
              <a:gd name="connsiteY103" fmla="*/ 171693 h 1239478"/>
              <a:gd name="connsiteX104" fmla="*/ 552019 w 1093427"/>
              <a:gd name="connsiteY104" fmla="*/ 130649 h 1239478"/>
              <a:gd name="connsiteX105" fmla="*/ 755759 w 1093427"/>
              <a:gd name="connsiteY105" fmla="*/ 35763 h 1239478"/>
              <a:gd name="connsiteX106" fmla="*/ 772993 w 1093427"/>
              <a:gd name="connsiteY106" fmla="*/ 43037 h 1239478"/>
              <a:gd name="connsiteX107" fmla="*/ 772993 w 1093427"/>
              <a:gd name="connsiteY107" fmla="*/ 77162 h 1239478"/>
              <a:gd name="connsiteX108" fmla="*/ 725844 w 1093427"/>
              <a:gd name="connsiteY108" fmla="*/ 124219 h 1239478"/>
              <a:gd name="connsiteX109" fmla="*/ 709057 w 1093427"/>
              <a:gd name="connsiteY109" fmla="*/ 131404 h 1239478"/>
              <a:gd name="connsiteX110" fmla="*/ 691912 w 1093427"/>
              <a:gd name="connsiteY110" fmla="*/ 124219 h 1239478"/>
              <a:gd name="connsiteX111" fmla="*/ 691912 w 1093427"/>
              <a:gd name="connsiteY111" fmla="*/ 90094 h 1239478"/>
              <a:gd name="connsiteX112" fmla="*/ 739060 w 1093427"/>
              <a:gd name="connsiteY112" fmla="*/ 43037 h 1239478"/>
              <a:gd name="connsiteX113" fmla="*/ 755759 w 1093427"/>
              <a:gd name="connsiteY113" fmla="*/ 35763 h 1239478"/>
              <a:gd name="connsiteX114" fmla="*/ 337725 w 1093427"/>
              <a:gd name="connsiteY114" fmla="*/ 35754 h 1239478"/>
              <a:gd name="connsiteX115" fmla="*/ 354899 w 1093427"/>
              <a:gd name="connsiteY115" fmla="*/ 43001 h 1239478"/>
              <a:gd name="connsiteX116" fmla="*/ 402626 w 1093427"/>
              <a:gd name="connsiteY116" fmla="*/ 90245 h 1239478"/>
              <a:gd name="connsiteX117" fmla="*/ 402626 w 1093427"/>
              <a:gd name="connsiteY117" fmla="*/ 124247 h 1239478"/>
              <a:gd name="connsiteX118" fmla="*/ 385632 w 1093427"/>
              <a:gd name="connsiteY118" fmla="*/ 131405 h 1239478"/>
              <a:gd name="connsiteX119" fmla="*/ 368277 w 1093427"/>
              <a:gd name="connsiteY119" fmla="*/ 124247 h 1239478"/>
              <a:gd name="connsiteX120" fmla="*/ 320551 w 1093427"/>
              <a:gd name="connsiteY120" fmla="*/ 76645 h 1239478"/>
              <a:gd name="connsiteX121" fmla="*/ 320551 w 1093427"/>
              <a:gd name="connsiteY121" fmla="*/ 43001 h 1239478"/>
              <a:gd name="connsiteX122" fmla="*/ 337725 w 1093427"/>
              <a:gd name="connsiteY122" fmla="*/ 35754 h 1239478"/>
              <a:gd name="connsiteX123" fmla="*/ 548481 w 1093427"/>
              <a:gd name="connsiteY123" fmla="*/ 0 h 1239478"/>
              <a:gd name="connsiteX124" fmla="*/ 572725 w 1093427"/>
              <a:gd name="connsiteY124" fmla="*/ 24067 h 1239478"/>
              <a:gd name="connsiteX125" fmla="*/ 572725 w 1093427"/>
              <a:gd name="connsiteY125" fmla="*/ 73998 h 1239478"/>
              <a:gd name="connsiteX126" fmla="*/ 548481 w 1093427"/>
              <a:gd name="connsiteY126" fmla="*/ 98066 h 1239478"/>
              <a:gd name="connsiteX127" fmla="*/ 523875 w 1093427"/>
              <a:gd name="connsiteY127" fmla="*/ 73998 h 1239478"/>
              <a:gd name="connsiteX128" fmla="*/ 523875 w 1093427"/>
              <a:gd name="connsiteY128" fmla="*/ 24067 h 1239478"/>
              <a:gd name="connsiteX129" fmla="*/ 548481 w 1093427"/>
              <a:gd name="connsiteY129" fmla="*/ 0 h 1239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93427" h="1239478">
                <a:moveTo>
                  <a:pt x="216332" y="1190625"/>
                </a:moveTo>
                <a:cubicBezTo>
                  <a:pt x="222845" y="1190625"/>
                  <a:pt x="228997" y="1193542"/>
                  <a:pt x="233701" y="1197916"/>
                </a:cubicBezTo>
                <a:cubicBezTo>
                  <a:pt x="238043" y="1202291"/>
                  <a:pt x="240938" y="1208852"/>
                  <a:pt x="240938" y="1215049"/>
                </a:cubicBezTo>
                <a:cubicBezTo>
                  <a:pt x="240938" y="1221611"/>
                  <a:pt x="238043" y="1227808"/>
                  <a:pt x="233701" y="1232547"/>
                </a:cubicBezTo>
                <a:cubicBezTo>
                  <a:pt x="228997" y="1236922"/>
                  <a:pt x="222845" y="1239474"/>
                  <a:pt x="216332" y="1239474"/>
                </a:cubicBezTo>
                <a:cubicBezTo>
                  <a:pt x="209818" y="1239474"/>
                  <a:pt x="203666" y="1236922"/>
                  <a:pt x="199324" y="1232547"/>
                </a:cubicBezTo>
                <a:cubicBezTo>
                  <a:pt x="194620" y="1227808"/>
                  <a:pt x="192087" y="1221611"/>
                  <a:pt x="192087" y="1215049"/>
                </a:cubicBezTo>
                <a:cubicBezTo>
                  <a:pt x="192087" y="1208852"/>
                  <a:pt x="194620" y="1202291"/>
                  <a:pt x="199324" y="1197916"/>
                </a:cubicBezTo>
                <a:cubicBezTo>
                  <a:pt x="203666" y="1193542"/>
                  <a:pt x="209818" y="1190625"/>
                  <a:pt x="216332" y="1190625"/>
                </a:cubicBezTo>
                <a:close/>
                <a:moveTo>
                  <a:pt x="927894" y="1060450"/>
                </a:moveTo>
                <a:cubicBezTo>
                  <a:pt x="934045" y="1060450"/>
                  <a:pt x="940559" y="1063002"/>
                  <a:pt x="944901" y="1067741"/>
                </a:cubicBezTo>
                <a:cubicBezTo>
                  <a:pt x="949605" y="1072116"/>
                  <a:pt x="952138" y="1078677"/>
                  <a:pt x="952138" y="1084874"/>
                </a:cubicBezTo>
                <a:cubicBezTo>
                  <a:pt x="952138" y="1091436"/>
                  <a:pt x="949605" y="1097633"/>
                  <a:pt x="944901" y="1102372"/>
                </a:cubicBezTo>
                <a:cubicBezTo>
                  <a:pt x="940559" y="1106747"/>
                  <a:pt x="934045" y="1109299"/>
                  <a:pt x="927894" y="1109299"/>
                </a:cubicBezTo>
                <a:cubicBezTo>
                  <a:pt x="921380" y="1109299"/>
                  <a:pt x="915229" y="1106747"/>
                  <a:pt x="910524" y="1102372"/>
                </a:cubicBezTo>
                <a:cubicBezTo>
                  <a:pt x="906182" y="1097633"/>
                  <a:pt x="903287" y="1091436"/>
                  <a:pt x="903287" y="1084874"/>
                </a:cubicBezTo>
                <a:cubicBezTo>
                  <a:pt x="903287" y="1078677"/>
                  <a:pt x="906182" y="1072116"/>
                  <a:pt x="910524" y="1067741"/>
                </a:cubicBezTo>
                <a:cubicBezTo>
                  <a:pt x="915229" y="1063002"/>
                  <a:pt x="921380" y="1060450"/>
                  <a:pt x="927894" y="1060450"/>
                </a:cubicBezTo>
                <a:close/>
                <a:moveTo>
                  <a:pt x="753142" y="1060450"/>
                </a:moveTo>
                <a:lnTo>
                  <a:pt x="835944" y="1060450"/>
                </a:lnTo>
                <a:cubicBezTo>
                  <a:pt x="849265" y="1060450"/>
                  <a:pt x="860065" y="1071386"/>
                  <a:pt x="860065" y="1084874"/>
                </a:cubicBezTo>
                <a:cubicBezTo>
                  <a:pt x="860065" y="1098362"/>
                  <a:pt x="849265" y="1109299"/>
                  <a:pt x="835944" y="1109299"/>
                </a:cubicBezTo>
                <a:lnTo>
                  <a:pt x="753142" y="1109299"/>
                </a:lnTo>
                <a:cubicBezTo>
                  <a:pt x="739462" y="1109299"/>
                  <a:pt x="728662" y="1098362"/>
                  <a:pt x="728662" y="1084874"/>
                </a:cubicBezTo>
                <a:cubicBezTo>
                  <a:pt x="728662" y="1071386"/>
                  <a:pt x="739462" y="1060450"/>
                  <a:pt x="753142" y="1060450"/>
                </a:cubicBezTo>
                <a:close/>
                <a:moveTo>
                  <a:pt x="463842" y="844951"/>
                </a:moveTo>
                <a:lnTo>
                  <a:pt x="463842" y="917678"/>
                </a:lnTo>
                <a:cubicBezTo>
                  <a:pt x="463842" y="936039"/>
                  <a:pt x="478981" y="951161"/>
                  <a:pt x="497725" y="951161"/>
                </a:cubicBezTo>
                <a:lnTo>
                  <a:pt x="604421" y="951161"/>
                </a:lnTo>
                <a:cubicBezTo>
                  <a:pt x="623165" y="951161"/>
                  <a:pt x="638305" y="936039"/>
                  <a:pt x="638305" y="917678"/>
                </a:cubicBezTo>
                <a:lnTo>
                  <a:pt x="638305" y="844951"/>
                </a:lnTo>
                <a:close/>
                <a:moveTo>
                  <a:pt x="280557" y="831046"/>
                </a:moveTo>
                <a:cubicBezTo>
                  <a:pt x="293130" y="827088"/>
                  <a:pt x="306781" y="834645"/>
                  <a:pt x="310373" y="847239"/>
                </a:cubicBezTo>
                <a:cubicBezTo>
                  <a:pt x="313966" y="860194"/>
                  <a:pt x="306781" y="873509"/>
                  <a:pt x="293849" y="877467"/>
                </a:cubicBezTo>
                <a:lnTo>
                  <a:pt x="178177" y="910933"/>
                </a:lnTo>
                <a:cubicBezTo>
                  <a:pt x="101662" y="932884"/>
                  <a:pt x="48496" y="1003775"/>
                  <a:pt x="48496" y="1083303"/>
                </a:cubicBezTo>
                <a:lnTo>
                  <a:pt x="48496" y="1191258"/>
                </a:lnTo>
                <a:lnTo>
                  <a:pt x="116031" y="1191258"/>
                </a:lnTo>
                <a:cubicBezTo>
                  <a:pt x="129322" y="1191258"/>
                  <a:pt x="140099" y="1202054"/>
                  <a:pt x="140099" y="1215368"/>
                </a:cubicBezTo>
                <a:cubicBezTo>
                  <a:pt x="140099" y="1228683"/>
                  <a:pt x="129322" y="1239478"/>
                  <a:pt x="116031" y="1239478"/>
                </a:cubicBezTo>
                <a:lnTo>
                  <a:pt x="24068" y="1239478"/>
                </a:lnTo>
                <a:cubicBezTo>
                  <a:pt x="10777" y="1239478"/>
                  <a:pt x="0" y="1228683"/>
                  <a:pt x="0" y="1215368"/>
                </a:cubicBezTo>
                <a:lnTo>
                  <a:pt x="0" y="1083303"/>
                </a:lnTo>
                <a:cubicBezTo>
                  <a:pt x="0" y="1033643"/>
                  <a:pt x="15806" y="986142"/>
                  <a:pt x="45981" y="946199"/>
                </a:cubicBezTo>
                <a:cubicBezTo>
                  <a:pt x="75438" y="906255"/>
                  <a:pt x="116749" y="878187"/>
                  <a:pt x="164527" y="864152"/>
                </a:cubicBezTo>
                <a:close/>
                <a:moveTo>
                  <a:pt x="796541" y="825924"/>
                </a:moveTo>
                <a:lnTo>
                  <a:pt x="928611" y="864076"/>
                </a:lnTo>
                <a:cubicBezTo>
                  <a:pt x="976472" y="878113"/>
                  <a:pt x="1017856" y="906187"/>
                  <a:pt x="1047725" y="946139"/>
                </a:cubicBezTo>
                <a:cubicBezTo>
                  <a:pt x="1077593" y="986091"/>
                  <a:pt x="1093427" y="1033601"/>
                  <a:pt x="1093427" y="1083271"/>
                </a:cubicBezTo>
                <a:lnTo>
                  <a:pt x="1093427" y="1215363"/>
                </a:lnTo>
                <a:cubicBezTo>
                  <a:pt x="1093427" y="1228681"/>
                  <a:pt x="1082631" y="1239478"/>
                  <a:pt x="1069317" y="1239478"/>
                </a:cubicBezTo>
                <a:lnTo>
                  <a:pt x="311448" y="1239478"/>
                </a:lnTo>
                <a:cubicBezTo>
                  <a:pt x="298133" y="1239478"/>
                  <a:pt x="287337" y="1228681"/>
                  <a:pt x="287337" y="1215363"/>
                </a:cubicBezTo>
                <a:cubicBezTo>
                  <a:pt x="287337" y="1202046"/>
                  <a:pt x="298133" y="1191248"/>
                  <a:pt x="311448" y="1191248"/>
                </a:cubicBezTo>
                <a:lnTo>
                  <a:pt x="1045206" y="1191248"/>
                </a:lnTo>
                <a:lnTo>
                  <a:pt x="1045206" y="1083271"/>
                </a:lnTo>
                <a:cubicBezTo>
                  <a:pt x="1045206" y="1003727"/>
                  <a:pt x="991586" y="932822"/>
                  <a:pt x="915296" y="910866"/>
                </a:cubicBezTo>
                <a:lnTo>
                  <a:pt x="782866" y="872354"/>
                </a:lnTo>
                <a:cubicBezTo>
                  <a:pt x="770271" y="868755"/>
                  <a:pt x="762714" y="855438"/>
                  <a:pt x="766673" y="842481"/>
                </a:cubicBezTo>
                <a:cubicBezTo>
                  <a:pt x="770271" y="829883"/>
                  <a:pt x="783586" y="822325"/>
                  <a:pt x="796541" y="825924"/>
                </a:cubicBezTo>
                <a:close/>
                <a:moveTo>
                  <a:pt x="546100" y="445197"/>
                </a:moveTo>
                <a:cubicBezTo>
                  <a:pt x="532362" y="445197"/>
                  <a:pt x="521517" y="456016"/>
                  <a:pt x="521517" y="469719"/>
                </a:cubicBezTo>
                <a:cubicBezTo>
                  <a:pt x="521517" y="483062"/>
                  <a:pt x="532362" y="493881"/>
                  <a:pt x="546100" y="493881"/>
                </a:cubicBezTo>
                <a:cubicBezTo>
                  <a:pt x="559114" y="493881"/>
                  <a:pt x="570321" y="483062"/>
                  <a:pt x="570321" y="469719"/>
                </a:cubicBezTo>
                <a:cubicBezTo>
                  <a:pt x="570321" y="456016"/>
                  <a:pt x="559114" y="445197"/>
                  <a:pt x="546100" y="445197"/>
                </a:cubicBezTo>
                <a:close/>
                <a:moveTo>
                  <a:pt x="546100" y="396875"/>
                </a:moveTo>
                <a:cubicBezTo>
                  <a:pt x="586227" y="396875"/>
                  <a:pt x="618763" y="429691"/>
                  <a:pt x="618763" y="469719"/>
                </a:cubicBezTo>
                <a:cubicBezTo>
                  <a:pt x="618763" y="509748"/>
                  <a:pt x="586227" y="542564"/>
                  <a:pt x="546100" y="542564"/>
                </a:cubicBezTo>
                <a:cubicBezTo>
                  <a:pt x="505972" y="542564"/>
                  <a:pt x="473075" y="509748"/>
                  <a:pt x="473075" y="469719"/>
                </a:cubicBezTo>
                <a:cubicBezTo>
                  <a:pt x="473075" y="429691"/>
                  <a:pt x="505972" y="396875"/>
                  <a:pt x="546100" y="396875"/>
                </a:cubicBezTo>
                <a:close/>
                <a:moveTo>
                  <a:pt x="548910" y="179253"/>
                </a:moveTo>
                <a:cubicBezTo>
                  <a:pt x="503132" y="179253"/>
                  <a:pt x="456272" y="191134"/>
                  <a:pt x="410854" y="214896"/>
                </a:cubicBezTo>
                <a:cubicBezTo>
                  <a:pt x="374087" y="234338"/>
                  <a:pt x="343809" y="264581"/>
                  <a:pt x="324344" y="302744"/>
                </a:cubicBezTo>
                <a:cubicBezTo>
                  <a:pt x="255857" y="435956"/>
                  <a:pt x="300193" y="552966"/>
                  <a:pt x="364715" y="618132"/>
                </a:cubicBezTo>
                <a:cubicBezTo>
                  <a:pt x="410133" y="664216"/>
                  <a:pt x="435005" y="726141"/>
                  <a:pt x="435005" y="792387"/>
                </a:cubicBezTo>
                <a:cubicBezTo>
                  <a:pt x="435005" y="794547"/>
                  <a:pt x="436807" y="796347"/>
                  <a:pt x="438970" y="796347"/>
                </a:cubicBezTo>
                <a:lnTo>
                  <a:pt x="524039" y="796347"/>
                </a:lnTo>
                <a:lnTo>
                  <a:pt x="524039" y="619572"/>
                </a:lnTo>
                <a:cubicBezTo>
                  <a:pt x="524039" y="606250"/>
                  <a:pt x="534853" y="595450"/>
                  <a:pt x="548190" y="595450"/>
                </a:cubicBezTo>
                <a:cubicBezTo>
                  <a:pt x="561887" y="595450"/>
                  <a:pt x="572340" y="606250"/>
                  <a:pt x="572340" y="619572"/>
                </a:cubicBezTo>
                <a:lnTo>
                  <a:pt x="572340" y="796347"/>
                </a:lnTo>
                <a:lnTo>
                  <a:pt x="658130" y="796347"/>
                </a:lnTo>
                <a:cubicBezTo>
                  <a:pt x="660293" y="796347"/>
                  <a:pt x="662095" y="794547"/>
                  <a:pt x="662095" y="792387"/>
                </a:cubicBezTo>
                <a:cubicBezTo>
                  <a:pt x="662095" y="726141"/>
                  <a:pt x="686967" y="664216"/>
                  <a:pt x="732745" y="617771"/>
                </a:cubicBezTo>
                <a:cubicBezTo>
                  <a:pt x="780326" y="569527"/>
                  <a:pt x="807000" y="505082"/>
                  <a:pt x="807000" y="437036"/>
                </a:cubicBezTo>
                <a:cubicBezTo>
                  <a:pt x="807000" y="345948"/>
                  <a:pt x="760140" y="263501"/>
                  <a:pt x="681920" y="216337"/>
                </a:cubicBezTo>
                <a:cubicBezTo>
                  <a:pt x="641188" y="191494"/>
                  <a:pt x="595770" y="179253"/>
                  <a:pt x="548910" y="179253"/>
                </a:cubicBezTo>
                <a:close/>
                <a:moveTo>
                  <a:pt x="552019" y="130649"/>
                </a:moveTo>
                <a:cubicBezTo>
                  <a:pt x="606404" y="131189"/>
                  <a:pt x="659391" y="145950"/>
                  <a:pt x="707152" y="174933"/>
                </a:cubicBezTo>
                <a:cubicBezTo>
                  <a:pt x="751489" y="201575"/>
                  <a:pt x="788616" y="239739"/>
                  <a:pt x="814569" y="284382"/>
                </a:cubicBezTo>
                <a:cubicBezTo>
                  <a:pt x="841243" y="330826"/>
                  <a:pt x="855301" y="383391"/>
                  <a:pt x="855301" y="437036"/>
                </a:cubicBezTo>
                <a:cubicBezTo>
                  <a:pt x="855301" y="518043"/>
                  <a:pt x="823941" y="594009"/>
                  <a:pt x="767349" y="651974"/>
                </a:cubicBezTo>
                <a:cubicBezTo>
                  <a:pt x="730582" y="689058"/>
                  <a:pt x="710397" y="739102"/>
                  <a:pt x="710397" y="792387"/>
                </a:cubicBezTo>
                <a:cubicBezTo>
                  <a:pt x="710397" y="810748"/>
                  <a:pt x="701025" y="826950"/>
                  <a:pt x="686606" y="836311"/>
                </a:cubicBezTo>
                <a:lnTo>
                  <a:pt x="686606" y="917678"/>
                </a:lnTo>
                <a:cubicBezTo>
                  <a:pt x="686606" y="963042"/>
                  <a:pt x="649839" y="999765"/>
                  <a:pt x="604421" y="999765"/>
                </a:cubicBezTo>
                <a:lnTo>
                  <a:pt x="497725" y="999765"/>
                </a:lnTo>
                <a:cubicBezTo>
                  <a:pt x="452307" y="999765"/>
                  <a:pt x="415180" y="963042"/>
                  <a:pt x="415180" y="917678"/>
                </a:cubicBezTo>
                <a:lnTo>
                  <a:pt x="415180" y="838831"/>
                </a:lnTo>
                <a:cubicBezTo>
                  <a:pt x="398238" y="830550"/>
                  <a:pt x="386703" y="812908"/>
                  <a:pt x="386703" y="792387"/>
                </a:cubicBezTo>
                <a:cubicBezTo>
                  <a:pt x="386703" y="739102"/>
                  <a:pt x="366518" y="689058"/>
                  <a:pt x="329751" y="651974"/>
                </a:cubicBezTo>
                <a:cubicBezTo>
                  <a:pt x="284693" y="606250"/>
                  <a:pt x="255857" y="548645"/>
                  <a:pt x="245764" y="485640"/>
                </a:cubicBezTo>
                <a:cubicBezTo>
                  <a:pt x="234950" y="417954"/>
                  <a:pt x="247206" y="347028"/>
                  <a:pt x="281089" y="280422"/>
                </a:cubicBezTo>
                <a:cubicBezTo>
                  <a:pt x="305240" y="233618"/>
                  <a:pt x="342367" y="196175"/>
                  <a:pt x="388506" y="171693"/>
                </a:cubicBezTo>
                <a:cubicBezTo>
                  <a:pt x="441854" y="143790"/>
                  <a:pt x="497635" y="130109"/>
                  <a:pt x="552019" y="130649"/>
                </a:cubicBezTo>
                <a:close/>
                <a:moveTo>
                  <a:pt x="755759" y="35763"/>
                </a:moveTo>
                <a:cubicBezTo>
                  <a:pt x="761920" y="35763"/>
                  <a:pt x="768171" y="38187"/>
                  <a:pt x="772993" y="43037"/>
                </a:cubicBezTo>
                <a:cubicBezTo>
                  <a:pt x="782280" y="52376"/>
                  <a:pt x="782280" y="67463"/>
                  <a:pt x="772993" y="77162"/>
                </a:cubicBezTo>
                <a:lnTo>
                  <a:pt x="725844" y="124219"/>
                </a:lnTo>
                <a:cubicBezTo>
                  <a:pt x="721201" y="128889"/>
                  <a:pt x="715129" y="131404"/>
                  <a:pt x="709057" y="131404"/>
                </a:cubicBezTo>
                <a:cubicBezTo>
                  <a:pt x="702984" y="131404"/>
                  <a:pt x="696555" y="128889"/>
                  <a:pt x="691912" y="124219"/>
                </a:cubicBezTo>
                <a:cubicBezTo>
                  <a:pt x="682625" y="114880"/>
                  <a:pt x="682625" y="99433"/>
                  <a:pt x="691912" y="90094"/>
                </a:cubicBezTo>
                <a:lnTo>
                  <a:pt x="739060" y="43037"/>
                </a:lnTo>
                <a:cubicBezTo>
                  <a:pt x="743525" y="38187"/>
                  <a:pt x="749597" y="35763"/>
                  <a:pt x="755759" y="35763"/>
                </a:cubicBezTo>
                <a:close/>
                <a:moveTo>
                  <a:pt x="337725" y="35754"/>
                </a:moveTo>
                <a:cubicBezTo>
                  <a:pt x="343962" y="35754"/>
                  <a:pt x="350199" y="38170"/>
                  <a:pt x="354899" y="43001"/>
                </a:cubicBezTo>
                <a:lnTo>
                  <a:pt x="402626" y="90245"/>
                </a:lnTo>
                <a:cubicBezTo>
                  <a:pt x="412388" y="99551"/>
                  <a:pt x="412388" y="114941"/>
                  <a:pt x="402626" y="124247"/>
                </a:cubicBezTo>
                <a:cubicBezTo>
                  <a:pt x="397926" y="128899"/>
                  <a:pt x="391779" y="131405"/>
                  <a:pt x="385632" y="131405"/>
                </a:cubicBezTo>
                <a:cubicBezTo>
                  <a:pt x="379486" y="131405"/>
                  <a:pt x="373339" y="128899"/>
                  <a:pt x="368277" y="124247"/>
                </a:cubicBezTo>
                <a:lnTo>
                  <a:pt x="320551" y="76645"/>
                </a:lnTo>
                <a:cubicBezTo>
                  <a:pt x="311150" y="67339"/>
                  <a:pt x="311150" y="51949"/>
                  <a:pt x="320551" y="43001"/>
                </a:cubicBezTo>
                <a:cubicBezTo>
                  <a:pt x="325251" y="38170"/>
                  <a:pt x="331488" y="35754"/>
                  <a:pt x="337725" y="35754"/>
                </a:cubicBezTo>
                <a:close/>
                <a:moveTo>
                  <a:pt x="548481" y="0"/>
                </a:moveTo>
                <a:cubicBezTo>
                  <a:pt x="561869" y="0"/>
                  <a:pt x="572725" y="10417"/>
                  <a:pt x="572725" y="24067"/>
                </a:cubicBezTo>
                <a:lnTo>
                  <a:pt x="572725" y="73998"/>
                </a:lnTo>
                <a:cubicBezTo>
                  <a:pt x="572725" y="87289"/>
                  <a:pt x="561869" y="98066"/>
                  <a:pt x="548481" y="98066"/>
                </a:cubicBezTo>
                <a:cubicBezTo>
                  <a:pt x="535092" y="98066"/>
                  <a:pt x="523875" y="87289"/>
                  <a:pt x="523875" y="73998"/>
                </a:cubicBezTo>
                <a:lnTo>
                  <a:pt x="523875" y="24067"/>
                </a:lnTo>
                <a:cubicBezTo>
                  <a:pt x="523875" y="10417"/>
                  <a:pt x="535092" y="0"/>
                  <a:pt x="548481" y="0"/>
                </a:cubicBezTo>
                <a:close/>
              </a:path>
            </a:pathLst>
          </a:custGeom>
          <a:solidFill>
            <a:schemeClr val="bg2"/>
          </a:solidFill>
          <a:ln>
            <a:noFill/>
          </a:ln>
          <a:effectLst/>
        </p:spPr>
        <p:txBody>
          <a:bodyPr wrap="square" anchor="ctr">
            <a:noAutofit/>
          </a:bodyPr>
          <a:lstStyle/>
          <a:p>
            <a:pPr defTabSz="685846"/>
            <a:endParaRPr lang="en-US" sz="1350" dirty="0">
              <a:solidFill>
                <a:srgbClr val="7F7F7F"/>
              </a:solidFill>
              <a:latin typeface="Lato Light" panose="020F0502020204030203" pitchFamily="34" charset="0"/>
            </a:endParaRPr>
          </a:p>
        </p:txBody>
      </p:sp>
      <p:sp>
        <p:nvSpPr>
          <p:cNvPr id="21" name="TextBox 20">
            <a:extLst>
              <a:ext uri="{FF2B5EF4-FFF2-40B4-BE49-F238E27FC236}">
                <a16:creationId xmlns:a16="http://schemas.microsoft.com/office/drawing/2014/main" id="{1843FEBF-9153-8D48-9C4C-090B41A4E6E5}"/>
              </a:ext>
            </a:extLst>
          </p:cNvPr>
          <p:cNvSpPr txBox="1"/>
          <p:nvPr/>
        </p:nvSpPr>
        <p:spPr>
          <a:xfrm>
            <a:off x="753892" y="2191748"/>
            <a:ext cx="2441643" cy="276999"/>
          </a:xfrm>
          <a:prstGeom prst="rect">
            <a:avLst/>
          </a:prstGeom>
          <a:noFill/>
        </p:spPr>
        <p:txBody>
          <a:bodyPr wrap="square" rtlCol="0" anchor="ctr">
            <a:spAutoFit/>
          </a:bodyPr>
          <a:lstStyle/>
          <a:p>
            <a:pPr algn="ctr" defTabSz="685846"/>
            <a:r>
              <a:rPr lang="en-AU" sz="1200" dirty="0">
                <a:latin typeface="+mj-lt"/>
                <a:ea typeface="Calibri" panose="020F0502020204030204" pitchFamily="34" charset="0"/>
              </a:rPr>
              <a:t>Student-centred</a:t>
            </a:r>
            <a:endParaRPr lang="en-US" sz="1200" b="1" dirty="0">
              <a:solidFill>
                <a:srgbClr val="000000"/>
              </a:solidFill>
              <a:latin typeface="+mj-lt"/>
              <a:cs typeface="Poppins" pitchFamily="2" charset="77"/>
            </a:endParaRPr>
          </a:p>
        </p:txBody>
      </p:sp>
      <p:sp>
        <p:nvSpPr>
          <p:cNvPr id="22" name="TextBox 21">
            <a:extLst>
              <a:ext uri="{FF2B5EF4-FFF2-40B4-BE49-F238E27FC236}">
                <a16:creationId xmlns:a16="http://schemas.microsoft.com/office/drawing/2014/main" id="{769DB129-C2AC-E240-8593-4EBF195A571D}"/>
              </a:ext>
            </a:extLst>
          </p:cNvPr>
          <p:cNvSpPr txBox="1"/>
          <p:nvPr/>
        </p:nvSpPr>
        <p:spPr>
          <a:xfrm>
            <a:off x="3964021" y="2215948"/>
            <a:ext cx="1493196" cy="276999"/>
          </a:xfrm>
          <a:prstGeom prst="rect">
            <a:avLst/>
          </a:prstGeom>
          <a:noFill/>
        </p:spPr>
        <p:txBody>
          <a:bodyPr wrap="square" rtlCol="0" anchor="ctr">
            <a:spAutoFit/>
          </a:bodyPr>
          <a:lstStyle/>
          <a:p>
            <a:pPr algn="ctr" defTabSz="685846"/>
            <a:r>
              <a:rPr lang="en-AU" sz="1200" dirty="0">
                <a:latin typeface="+mj-lt"/>
                <a:ea typeface="Calibri" panose="020F0502020204030204" pitchFamily="34" charset="0"/>
              </a:rPr>
              <a:t>Collaborative</a:t>
            </a:r>
            <a:endParaRPr lang="en-US" sz="1200" b="1" dirty="0">
              <a:solidFill>
                <a:srgbClr val="000000"/>
              </a:solidFill>
              <a:latin typeface="+mj-lt"/>
              <a:cs typeface="Poppins" pitchFamily="2" charset="77"/>
            </a:endParaRPr>
          </a:p>
        </p:txBody>
      </p:sp>
      <p:sp>
        <p:nvSpPr>
          <p:cNvPr id="23" name="TextBox 22">
            <a:extLst>
              <a:ext uri="{FF2B5EF4-FFF2-40B4-BE49-F238E27FC236}">
                <a16:creationId xmlns:a16="http://schemas.microsoft.com/office/drawing/2014/main" id="{7205D1E8-2E8D-DE45-84F7-A79B3B67DD72}"/>
              </a:ext>
            </a:extLst>
          </p:cNvPr>
          <p:cNvSpPr txBox="1"/>
          <p:nvPr/>
        </p:nvSpPr>
        <p:spPr>
          <a:xfrm>
            <a:off x="3323584" y="4106492"/>
            <a:ext cx="1744528" cy="276999"/>
          </a:xfrm>
          <a:prstGeom prst="rect">
            <a:avLst/>
          </a:prstGeom>
          <a:noFill/>
        </p:spPr>
        <p:txBody>
          <a:bodyPr wrap="square" rtlCol="0" anchor="ctr">
            <a:spAutoFit/>
          </a:bodyPr>
          <a:lstStyle/>
          <a:p>
            <a:pPr algn="ctr" defTabSz="685846"/>
            <a:r>
              <a:rPr lang="en-AU" sz="1200" dirty="0">
                <a:latin typeface="+mj-lt"/>
                <a:ea typeface="Calibri" panose="020F0502020204030204" pitchFamily="34" charset="0"/>
              </a:rPr>
              <a:t>Timely &amp; effective</a:t>
            </a:r>
            <a:endParaRPr lang="en-US" sz="1200" b="1" dirty="0">
              <a:solidFill>
                <a:srgbClr val="000000"/>
              </a:solidFill>
              <a:latin typeface="+mj-lt"/>
              <a:cs typeface="Poppins" pitchFamily="2" charset="77"/>
            </a:endParaRPr>
          </a:p>
        </p:txBody>
      </p:sp>
      <p:sp>
        <p:nvSpPr>
          <p:cNvPr id="24" name="TextBox 23">
            <a:extLst>
              <a:ext uri="{FF2B5EF4-FFF2-40B4-BE49-F238E27FC236}">
                <a16:creationId xmlns:a16="http://schemas.microsoft.com/office/drawing/2014/main" id="{D40A4103-1ECA-1D4F-A31C-318CEB8E10F9}"/>
              </a:ext>
            </a:extLst>
          </p:cNvPr>
          <p:cNvSpPr txBox="1"/>
          <p:nvPr/>
        </p:nvSpPr>
        <p:spPr>
          <a:xfrm>
            <a:off x="6269477" y="4071920"/>
            <a:ext cx="1089497" cy="461665"/>
          </a:xfrm>
          <a:prstGeom prst="rect">
            <a:avLst/>
          </a:prstGeom>
          <a:noFill/>
        </p:spPr>
        <p:txBody>
          <a:bodyPr wrap="square" rtlCol="0" anchor="ctr">
            <a:spAutoFit/>
          </a:bodyPr>
          <a:lstStyle/>
          <a:p>
            <a:pPr algn="ctr" defTabSz="685846"/>
            <a:r>
              <a:rPr lang="en-AU" sz="1200" dirty="0">
                <a:latin typeface="+mj-lt"/>
                <a:ea typeface="Calibri" panose="020F0502020204030204" pitchFamily="34" charset="0"/>
              </a:rPr>
              <a:t>Constantly improving</a:t>
            </a:r>
            <a:endParaRPr lang="en-US" sz="1200" b="1" dirty="0">
              <a:solidFill>
                <a:srgbClr val="000000"/>
              </a:solidFill>
              <a:latin typeface="+mj-lt"/>
              <a:cs typeface="Poppins" pitchFamily="2" charset="77"/>
            </a:endParaRPr>
          </a:p>
        </p:txBody>
      </p:sp>
      <p:sp>
        <p:nvSpPr>
          <p:cNvPr id="25" name="TextBox 24">
            <a:extLst>
              <a:ext uri="{FF2B5EF4-FFF2-40B4-BE49-F238E27FC236}">
                <a16:creationId xmlns:a16="http://schemas.microsoft.com/office/drawing/2014/main" id="{6FA8763C-1538-DB4C-A666-A52D449C1FDD}"/>
              </a:ext>
            </a:extLst>
          </p:cNvPr>
          <p:cNvSpPr txBox="1"/>
          <p:nvPr/>
        </p:nvSpPr>
        <p:spPr>
          <a:xfrm>
            <a:off x="6441185" y="2192609"/>
            <a:ext cx="1982968" cy="276999"/>
          </a:xfrm>
          <a:prstGeom prst="rect">
            <a:avLst/>
          </a:prstGeom>
          <a:noFill/>
        </p:spPr>
        <p:txBody>
          <a:bodyPr wrap="square" rtlCol="0" anchor="ctr">
            <a:spAutoFit/>
          </a:bodyPr>
          <a:lstStyle/>
          <a:p>
            <a:pPr algn="ctr" defTabSz="685846"/>
            <a:r>
              <a:rPr lang="en-AU" sz="1200" dirty="0">
                <a:latin typeface="+mj-lt"/>
                <a:ea typeface="Calibri" panose="020F0502020204030204" pitchFamily="34" charset="0"/>
              </a:rPr>
              <a:t>Evidence informed</a:t>
            </a:r>
            <a:endParaRPr lang="en-US" sz="1200" b="1" dirty="0">
              <a:solidFill>
                <a:srgbClr val="000000"/>
              </a:solidFill>
              <a:latin typeface="+mj-lt"/>
              <a:cs typeface="Poppins" pitchFamily="2" charset="77"/>
            </a:endParaRPr>
          </a:p>
        </p:txBody>
      </p:sp>
      <p:sp>
        <p:nvSpPr>
          <p:cNvPr id="26" name="Subtitle 2">
            <a:extLst>
              <a:ext uri="{FF2B5EF4-FFF2-40B4-BE49-F238E27FC236}">
                <a16:creationId xmlns:a16="http://schemas.microsoft.com/office/drawing/2014/main" id="{609B9F15-394B-F14F-BBD1-CDB488CBABD3}"/>
              </a:ext>
            </a:extLst>
          </p:cNvPr>
          <p:cNvSpPr txBox="1">
            <a:spLocks/>
          </p:cNvSpPr>
          <p:nvPr/>
        </p:nvSpPr>
        <p:spPr>
          <a:xfrm>
            <a:off x="885217" y="2582695"/>
            <a:ext cx="2008761"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AU" sz="1000" b="1" dirty="0">
                <a:latin typeface="+mn-lt"/>
                <a:ea typeface="Calibri" panose="020F0502020204030204" pitchFamily="34" charset="0"/>
              </a:rPr>
              <a:t>Our ultimate focus is to drive up student wellbeing and learning and this is backed by our constant consideration for and involvement of students and schools</a:t>
            </a:r>
          </a:p>
        </p:txBody>
      </p:sp>
      <p:sp>
        <p:nvSpPr>
          <p:cNvPr id="27" name="Subtitle 2">
            <a:extLst>
              <a:ext uri="{FF2B5EF4-FFF2-40B4-BE49-F238E27FC236}">
                <a16:creationId xmlns:a16="http://schemas.microsoft.com/office/drawing/2014/main" id="{E92106DB-A1A8-9046-8667-9EF82B2160A5}"/>
              </a:ext>
            </a:extLst>
          </p:cNvPr>
          <p:cNvSpPr txBox="1">
            <a:spLocks/>
          </p:cNvSpPr>
          <p:nvPr/>
        </p:nvSpPr>
        <p:spPr>
          <a:xfrm>
            <a:off x="3516549" y="2516420"/>
            <a:ext cx="2101175"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AU" sz="1000" b="1" dirty="0">
                <a:latin typeface="+mn-lt"/>
                <a:ea typeface="Calibri" panose="020F0502020204030204" pitchFamily="34" charset="0"/>
              </a:rPr>
              <a:t>We will continue to work closely with all our stakeholders to develop solutions that leverages the collective experience and expertise of the schools, partners, other systems in Australia, and experts from around the world</a:t>
            </a:r>
          </a:p>
        </p:txBody>
      </p:sp>
      <p:sp>
        <p:nvSpPr>
          <p:cNvPr id="28" name="Subtitle 2">
            <a:extLst>
              <a:ext uri="{FF2B5EF4-FFF2-40B4-BE49-F238E27FC236}">
                <a16:creationId xmlns:a16="http://schemas.microsoft.com/office/drawing/2014/main" id="{68568A34-5E92-FF4E-9290-F94398506CAD}"/>
              </a:ext>
            </a:extLst>
          </p:cNvPr>
          <p:cNvSpPr txBox="1">
            <a:spLocks/>
          </p:cNvSpPr>
          <p:nvPr/>
        </p:nvSpPr>
        <p:spPr>
          <a:xfrm>
            <a:off x="6425028" y="2628287"/>
            <a:ext cx="1807352" cy="80407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AU" sz="1000" b="1" dirty="0">
                <a:latin typeface="+mn-lt"/>
                <a:ea typeface="Calibri" panose="020F0502020204030204" pitchFamily="34" charset="0"/>
              </a:rPr>
              <a:t>We continue to seek out evidence and insights from others, evaluating and prioritising accordingly, to inform our work</a:t>
            </a:r>
          </a:p>
        </p:txBody>
      </p:sp>
      <p:sp>
        <p:nvSpPr>
          <p:cNvPr id="29" name="Subtitle 2">
            <a:extLst>
              <a:ext uri="{FF2B5EF4-FFF2-40B4-BE49-F238E27FC236}">
                <a16:creationId xmlns:a16="http://schemas.microsoft.com/office/drawing/2014/main" id="{C6A96978-C3D6-8546-ADF9-AC5B37FAB476}"/>
              </a:ext>
            </a:extLst>
          </p:cNvPr>
          <p:cNvSpPr txBox="1">
            <a:spLocks/>
          </p:cNvSpPr>
          <p:nvPr/>
        </p:nvSpPr>
        <p:spPr>
          <a:xfrm>
            <a:off x="5771865" y="4676291"/>
            <a:ext cx="1807352" cy="80407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AU" sz="1000" b="1" dirty="0">
                <a:latin typeface="+mn-lt"/>
                <a:ea typeface="Calibri" panose="020F0502020204030204" pitchFamily="34" charset="0"/>
              </a:rPr>
              <a:t>We regularly reflect and plan to monitor outcomes closely to guide us towards  solutions that continue to improve</a:t>
            </a:r>
          </a:p>
        </p:txBody>
      </p:sp>
      <p:sp>
        <p:nvSpPr>
          <p:cNvPr id="30" name="Subtitle 2">
            <a:extLst>
              <a:ext uri="{FF2B5EF4-FFF2-40B4-BE49-F238E27FC236}">
                <a16:creationId xmlns:a16="http://schemas.microsoft.com/office/drawing/2014/main" id="{A5CB43A0-F9FA-7F41-A4DA-5D14888F312F}"/>
              </a:ext>
            </a:extLst>
          </p:cNvPr>
          <p:cNvSpPr txBox="1">
            <a:spLocks/>
          </p:cNvSpPr>
          <p:nvPr/>
        </p:nvSpPr>
        <p:spPr>
          <a:xfrm>
            <a:off x="2957210" y="4549832"/>
            <a:ext cx="2110902"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AU" sz="1000" b="1" dirty="0">
                <a:latin typeface="+mn-lt"/>
                <a:ea typeface="Calibri" panose="020F0502020204030204" pitchFamily="34" charset="0"/>
              </a:rPr>
              <a:t>We are driven by a sense of urgency to implement changes needed to help improve learning across NSW, and </a:t>
            </a:r>
          </a:p>
          <a:p>
            <a:pPr>
              <a:lnSpc>
                <a:spcPct val="100000"/>
              </a:lnSpc>
              <a:spcBef>
                <a:spcPts val="0"/>
              </a:spcBef>
            </a:pPr>
            <a:r>
              <a:rPr lang="en-AU" sz="1000" b="1" dirty="0">
                <a:latin typeface="+mn-lt"/>
                <a:ea typeface="Calibri" panose="020F0502020204030204" pitchFamily="34" charset="0"/>
              </a:rPr>
              <a:t>we act in full consideration of student and staff needs </a:t>
            </a:r>
          </a:p>
        </p:txBody>
      </p:sp>
      <p:sp>
        <p:nvSpPr>
          <p:cNvPr id="31" name="Oval 30">
            <a:extLst>
              <a:ext uri="{FF2B5EF4-FFF2-40B4-BE49-F238E27FC236}">
                <a16:creationId xmlns:a16="http://schemas.microsoft.com/office/drawing/2014/main" id="{00B9C9B2-78CE-8D49-A4F2-AC78E494D94B}"/>
              </a:ext>
            </a:extLst>
          </p:cNvPr>
          <p:cNvSpPr/>
          <p:nvPr/>
        </p:nvSpPr>
        <p:spPr>
          <a:xfrm>
            <a:off x="5372632" y="3828553"/>
            <a:ext cx="786946" cy="786946"/>
          </a:xfrm>
          <a:prstGeom prst="ellipse">
            <a:avLst/>
          </a:prstGeom>
          <a:solidFill>
            <a:srgbClr val="1D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6"/>
            <a:endParaRPr lang="en-US" sz="1350" dirty="0">
              <a:solidFill>
                <a:srgbClr val="FFFFFF"/>
              </a:solidFill>
              <a:latin typeface="Lato Light" panose="020F0502020204030203" pitchFamily="34" charset="0"/>
            </a:endParaRPr>
          </a:p>
        </p:txBody>
      </p:sp>
      <p:sp>
        <p:nvSpPr>
          <p:cNvPr id="32" name="Freeform 31">
            <a:extLst>
              <a:ext uri="{FF2B5EF4-FFF2-40B4-BE49-F238E27FC236}">
                <a16:creationId xmlns:a16="http://schemas.microsoft.com/office/drawing/2014/main" id="{39B39919-4F85-9346-9E06-C3BA3E8BAABB}"/>
              </a:ext>
            </a:extLst>
          </p:cNvPr>
          <p:cNvSpPr>
            <a:spLocks noChangeAspect="1" noChangeArrowheads="1"/>
          </p:cNvSpPr>
          <p:nvPr/>
        </p:nvSpPr>
        <p:spPr bwMode="auto">
          <a:xfrm>
            <a:off x="5552823" y="3962647"/>
            <a:ext cx="475298" cy="475908"/>
          </a:xfrm>
          <a:custGeom>
            <a:avLst/>
            <a:gdLst>
              <a:gd name="connsiteX0" fmla="*/ 509588 w 1145140"/>
              <a:gd name="connsiteY0" fmla="*/ 613568 h 1146608"/>
              <a:gd name="connsiteX1" fmla="*/ 525002 w 1145140"/>
              <a:gd name="connsiteY1" fmla="*/ 619969 h 1146608"/>
              <a:gd name="connsiteX2" fmla="*/ 531455 w 1145140"/>
              <a:gd name="connsiteY2" fmla="*/ 635615 h 1146608"/>
              <a:gd name="connsiteX3" fmla="*/ 525002 w 1145140"/>
              <a:gd name="connsiteY3" fmla="*/ 651262 h 1146608"/>
              <a:gd name="connsiteX4" fmla="*/ 509588 w 1145140"/>
              <a:gd name="connsiteY4" fmla="*/ 657663 h 1146608"/>
              <a:gd name="connsiteX5" fmla="*/ 493816 w 1145140"/>
              <a:gd name="connsiteY5" fmla="*/ 651262 h 1146608"/>
              <a:gd name="connsiteX6" fmla="*/ 487363 w 1145140"/>
              <a:gd name="connsiteY6" fmla="*/ 635615 h 1146608"/>
              <a:gd name="connsiteX7" fmla="*/ 493816 w 1145140"/>
              <a:gd name="connsiteY7" fmla="*/ 619969 h 1146608"/>
              <a:gd name="connsiteX8" fmla="*/ 509588 w 1145140"/>
              <a:gd name="connsiteY8" fmla="*/ 613568 h 1146608"/>
              <a:gd name="connsiteX9" fmla="*/ 511833 w 1145140"/>
              <a:gd name="connsiteY9" fmla="*/ 503279 h 1146608"/>
              <a:gd name="connsiteX10" fmla="*/ 382644 w 1145140"/>
              <a:gd name="connsiteY10" fmla="*/ 633188 h 1146608"/>
              <a:gd name="connsiteX11" fmla="*/ 511833 w 1145140"/>
              <a:gd name="connsiteY11" fmla="*/ 763096 h 1146608"/>
              <a:gd name="connsiteX12" fmla="*/ 641741 w 1145140"/>
              <a:gd name="connsiteY12" fmla="*/ 633188 h 1146608"/>
              <a:gd name="connsiteX13" fmla="*/ 617991 w 1145140"/>
              <a:gd name="connsiteY13" fmla="*/ 558697 h 1146608"/>
              <a:gd name="connsiteX14" fmla="*/ 578407 w 1145140"/>
              <a:gd name="connsiteY14" fmla="*/ 598281 h 1146608"/>
              <a:gd name="connsiteX15" fmla="*/ 562573 w 1145140"/>
              <a:gd name="connsiteY15" fmla="*/ 604759 h 1146608"/>
              <a:gd name="connsiteX16" fmla="*/ 546739 w 1145140"/>
              <a:gd name="connsiteY16" fmla="*/ 598281 h 1146608"/>
              <a:gd name="connsiteX17" fmla="*/ 546739 w 1145140"/>
              <a:gd name="connsiteY17" fmla="*/ 566614 h 1146608"/>
              <a:gd name="connsiteX18" fmla="*/ 586683 w 1145140"/>
              <a:gd name="connsiteY18" fmla="*/ 527030 h 1146608"/>
              <a:gd name="connsiteX19" fmla="*/ 511833 w 1145140"/>
              <a:gd name="connsiteY19" fmla="*/ 503279 h 1146608"/>
              <a:gd name="connsiteX20" fmla="*/ 310177 w 1145140"/>
              <a:gd name="connsiteY20" fmla="*/ 407770 h 1146608"/>
              <a:gd name="connsiteX21" fmla="*/ 325982 w 1145140"/>
              <a:gd name="connsiteY21" fmla="*/ 414264 h 1146608"/>
              <a:gd name="connsiteX22" fmla="*/ 325982 w 1145140"/>
              <a:gd name="connsiteY22" fmla="*/ 446014 h 1146608"/>
              <a:gd name="connsiteX23" fmla="*/ 325982 w 1145140"/>
              <a:gd name="connsiteY23" fmla="*/ 446375 h 1146608"/>
              <a:gd name="connsiteX24" fmla="*/ 310177 w 1145140"/>
              <a:gd name="connsiteY24" fmla="*/ 452869 h 1146608"/>
              <a:gd name="connsiteX25" fmla="*/ 294012 w 1145140"/>
              <a:gd name="connsiteY25" fmla="*/ 446375 h 1146608"/>
              <a:gd name="connsiteX26" fmla="*/ 294012 w 1145140"/>
              <a:gd name="connsiteY26" fmla="*/ 414625 h 1146608"/>
              <a:gd name="connsiteX27" fmla="*/ 294371 w 1145140"/>
              <a:gd name="connsiteY27" fmla="*/ 414264 h 1146608"/>
              <a:gd name="connsiteX28" fmla="*/ 310177 w 1145140"/>
              <a:gd name="connsiteY28" fmla="*/ 407770 h 1146608"/>
              <a:gd name="connsiteX29" fmla="*/ 999799 w 1145140"/>
              <a:gd name="connsiteY29" fmla="*/ 176890 h 1146608"/>
              <a:gd name="connsiteX30" fmla="*/ 877447 w 1145140"/>
              <a:gd name="connsiteY30" fmla="*/ 299241 h 1146608"/>
              <a:gd name="connsiteX31" fmla="*/ 814472 w 1145140"/>
              <a:gd name="connsiteY31" fmla="*/ 362216 h 1146608"/>
              <a:gd name="connsiteX32" fmla="*/ 950498 w 1145140"/>
              <a:gd name="connsiteY32" fmla="*/ 362216 h 1146608"/>
              <a:gd name="connsiteX33" fmla="*/ 1093001 w 1145140"/>
              <a:gd name="connsiteY33" fmla="*/ 219713 h 1146608"/>
              <a:gd name="connsiteX34" fmla="*/ 1098039 w 1145140"/>
              <a:gd name="connsiteY34" fmla="*/ 192364 h 1146608"/>
              <a:gd name="connsiteX35" fmla="*/ 1075368 w 1145140"/>
              <a:gd name="connsiteY35" fmla="*/ 176890 h 1146608"/>
              <a:gd name="connsiteX36" fmla="*/ 444862 w 1145140"/>
              <a:gd name="connsiteY36" fmla="*/ 121443 h 1146608"/>
              <a:gd name="connsiteX37" fmla="*/ 579942 w 1145140"/>
              <a:gd name="connsiteY37" fmla="*/ 121443 h 1146608"/>
              <a:gd name="connsiteX38" fmla="*/ 622447 w 1145140"/>
              <a:gd name="connsiteY38" fmla="*/ 163918 h 1146608"/>
              <a:gd name="connsiteX39" fmla="*/ 622447 w 1145140"/>
              <a:gd name="connsiteY39" fmla="*/ 220792 h 1146608"/>
              <a:gd name="connsiteX40" fmla="*/ 655947 w 1145140"/>
              <a:gd name="connsiteY40" fmla="*/ 230870 h 1146608"/>
              <a:gd name="connsiteX41" fmla="*/ 669275 w 1145140"/>
              <a:gd name="connsiteY41" fmla="*/ 259667 h 1146608"/>
              <a:gd name="connsiteX42" fmla="*/ 640818 w 1145140"/>
              <a:gd name="connsiteY42" fmla="*/ 273346 h 1146608"/>
              <a:gd name="connsiteX43" fmla="*/ 609120 w 1145140"/>
              <a:gd name="connsiteY43" fmla="*/ 263627 h 1146608"/>
              <a:gd name="connsiteX44" fmla="*/ 577421 w 1145140"/>
              <a:gd name="connsiteY44" fmla="*/ 222591 h 1146608"/>
              <a:gd name="connsiteX45" fmla="*/ 577421 w 1145140"/>
              <a:gd name="connsiteY45" fmla="*/ 166438 h 1146608"/>
              <a:gd name="connsiteX46" fmla="*/ 447384 w 1145140"/>
              <a:gd name="connsiteY46" fmla="*/ 166438 h 1146608"/>
              <a:gd name="connsiteX47" fmla="*/ 447384 w 1145140"/>
              <a:gd name="connsiteY47" fmla="*/ 222591 h 1146608"/>
              <a:gd name="connsiteX48" fmla="*/ 415685 w 1145140"/>
              <a:gd name="connsiteY48" fmla="*/ 263627 h 1146608"/>
              <a:gd name="connsiteX49" fmla="*/ 319148 w 1145140"/>
              <a:gd name="connsiteY49" fmla="*/ 303942 h 1146608"/>
              <a:gd name="connsiteX50" fmla="*/ 267998 w 1145140"/>
              <a:gd name="connsiteY50" fmla="*/ 297103 h 1146608"/>
              <a:gd name="connsiteX51" fmla="*/ 228014 w 1145140"/>
              <a:gd name="connsiteY51" fmla="*/ 257148 h 1146608"/>
              <a:gd name="connsiteX52" fmla="*/ 135440 w 1145140"/>
              <a:gd name="connsiteY52" fmla="*/ 349297 h 1146608"/>
              <a:gd name="connsiteX53" fmla="*/ 175783 w 1145140"/>
              <a:gd name="connsiteY53" fmla="*/ 389613 h 1146608"/>
              <a:gd name="connsiteX54" fmla="*/ 182627 w 1145140"/>
              <a:gd name="connsiteY54" fmla="*/ 440727 h 1146608"/>
              <a:gd name="connsiteX55" fmla="*/ 142644 w 1145140"/>
              <a:gd name="connsiteY55" fmla="*/ 537196 h 1146608"/>
              <a:gd name="connsiteX56" fmla="*/ 101580 w 1145140"/>
              <a:gd name="connsiteY56" fmla="*/ 568513 h 1146608"/>
              <a:gd name="connsiteX57" fmla="*/ 44666 w 1145140"/>
              <a:gd name="connsiteY57" fmla="*/ 568513 h 1146608"/>
              <a:gd name="connsiteX58" fmla="*/ 44666 w 1145140"/>
              <a:gd name="connsiteY58" fmla="*/ 699178 h 1146608"/>
              <a:gd name="connsiteX59" fmla="*/ 101580 w 1145140"/>
              <a:gd name="connsiteY59" fmla="*/ 699178 h 1146608"/>
              <a:gd name="connsiteX60" fmla="*/ 142644 w 1145140"/>
              <a:gd name="connsiteY60" fmla="*/ 730495 h 1146608"/>
              <a:gd name="connsiteX61" fmla="*/ 182627 w 1145140"/>
              <a:gd name="connsiteY61" fmla="*/ 826964 h 1146608"/>
              <a:gd name="connsiteX62" fmla="*/ 175783 w 1145140"/>
              <a:gd name="connsiteY62" fmla="*/ 878078 h 1146608"/>
              <a:gd name="connsiteX63" fmla="*/ 135440 w 1145140"/>
              <a:gd name="connsiteY63" fmla="*/ 918394 h 1146608"/>
              <a:gd name="connsiteX64" fmla="*/ 228014 w 1145140"/>
              <a:gd name="connsiteY64" fmla="*/ 1010903 h 1146608"/>
              <a:gd name="connsiteX65" fmla="*/ 268358 w 1145140"/>
              <a:gd name="connsiteY65" fmla="*/ 970228 h 1146608"/>
              <a:gd name="connsiteX66" fmla="*/ 319508 w 1145140"/>
              <a:gd name="connsiteY66" fmla="*/ 963749 h 1146608"/>
              <a:gd name="connsiteX67" fmla="*/ 415685 w 1145140"/>
              <a:gd name="connsiteY67" fmla="*/ 1003704 h 1146608"/>
              <a:gd name="connsiteX68" fmla="*/ 447384 w 1145140"/>
              <a:gd name="connsiteY68" fmla="*/ 1044380 h 1146608"/>
              <a:gd name="connsiteX69" fmla="*/ 447384 w 1145140"/>
              <a:gd name="connsiteY69" fmla="*/ 1101613 h 1146608"/>
              <a:gd name="connsiteX70" fmla="*/ 577781 w 1145140"/>
              <a:gd name="connsiteY70" fmla="*/ 1101613 h 1146608"/>
              <a:gd name="connsiteX71" fmla="*/ 577781 w 1145140"/>
              <a:gd name="connsiteY71" fmla="*/ 1044740 h 1146608"/>
              <a:gd name="connsiteX72" fmla="*/ 609120 w 1145140"/>
              <a:gd name="connsiteY72" fmla="*/ 1003704 h 1146608"/>
              <a:gd name="connsiteX73" fmla="*/ 705657 w 1145140"/>
              <a:gd name="connsiteY73" fmla="*/ 964109 h 1146608"/>
              <a:gd name="connsiteX74" fmla="*/ 756807 w 1145140"/>
              <a:gd name="connsiteY74" fmla="*/ 970588 h 1146608"/>
              <a:gd name="connsiteX75" fmla="*/ 797150 w 1145140"/>
              <a:gd name="connsiteY75" fmla="*/ 1010903 h 1146608"/>
              <a:gd name="connsiteX76" fmla="*/ 889365 w 1145140"/>
              <a:gd name="connsiteY76" fmla="*/ 918394 h 1146608"/>
              <a:gd name="connsiteX77" fmla="*/ 849381 w 1145140"/>
              <a:gd name="connsiteY77" fmla="*/ 878438 h 1146608"/>
              <a:gd name="connsiteX78" fmla="*/ 842897 w 1145140"/>
              <a:gd name="connsiteY78" fmla="*/ 827324 h 1146608"/>
              <a:gd name="connsiteX79" fmla="*/ 882881 w 1145140"/>
              <a:gd name="connsiteY79" fmla="*/ 730495 h 1146608"/>
              <a:gd name="connsiteX80" fmla="*/ 923945 w 1145140"/>
              <a:gd name="connsiteY80" fmla="*/ 699178 h 1146608"/>
              <a:gd name="connsiteX81" fmla="*/ 980138 w 1145140"/>
              <a:gd name="connsiteY81" fmla="*/ 699178 h 1146608"/>
              <a:gd name="connsiteX82" fmla="*/ 980138 w 1145140"/>
              <a:gd name="connsiteY82" fmla="*/ 568513 h 1146608"/>
              <a:gd name="connsiteX83" fmla="*/ 923945 w 1145140"/>
              <a:gd name="connsiteY83" fmla="*/ 568513 h 1146608"/>
              <a:gd name="connsiteX84" fmla="*/ 882881 w 1145140"/>
              <a:gd name="connsiteY84" fmla="*/ 537196 h 1146608"/>
              <a:gd name="connsiteX85" fmla="*/ 873155 w 1145140"/>
              <a:gd name="connsiteY85" fmla="*/ 504800 h 1146608"/>
              <a:gd name="connsiteX86" fmla="*/ 886483 w 1145140"/>
              <a:gd name="connsiteY86" fmla="*/ 476363 h 1146608"/>
              <a:gd name="connsiteX87" fmla="*/ 915300 w 1145140"/>
              <a:gd name="connsiteY87" fmla="*/ 489681 h 1146608"/>
              <a:gd name="connsiteX88" fmla="*/ 925746 w 1145140"/>
              <a:gd name="connsiteY88" fmla="*/ 523878 h 1146608"/>
              <a:gd name="connsiteX89" fmla="*/ 982660 w 1145140"/>
              <a:gd name="connsiteY89" fmla="*/ 523878 h 1146608"/>
              <a:gd name="connsiteX90" fmla="*/ 1025165 w 1145140"/>
              <a:gd name="connsiteY90" fmla="*/ 565993 h 1146608"/>
              <a:gd name="connsiteX91" fmla="*/ 1025165 w 1145140"/>
              <a:gd name="connsiteY91" fmla="*/ 701698 h 1146608"/>
              <a:gd name="connsiteX92" fmla="*/ 982660 w 1145140"/>
              <a:gd name="connsiteY92" fmla="*/ 743813 h 1146608"/>
              <a:gd name="connsiteX93" fmla="*/ 925746 w 1145140"/>
              <a:gd name="connsiteY93" fmla="*/ 743813 h 1146608"/>
              <a:gd name="connsiteX94" fmla="*/ 882521 w 1145140"/>
              <a:gd name="connsiteY94" fmla="*/ 848202 h 1146608"/>
              <a:gd name="connsiteX95" fmla="*/ 922865 w 1145140"/>
              <a:gd name="connsiteY95" fmla="*/ 888517 h 1146608"/>
              <a:gd name="connsiteX96" fmla="*/ 922865 w 1145140"/>
              <a:gd name="connsiteY96" fmla="*/ 948271 h 1146608"/>
              <a:gd name="connsiteX97" fmla="*/ 827048 w 1145140"/>
              <a:gd name="connsiteY97" fmla="*/ 1044020 h 1146608"/>
              <a:gd name="connsiteX98" fmla="*/ 766893 w 1145140"/>
              <a:gd name="connsiteY98" fmla="*/ 1044020 h 1146608"/>
              <a:gd name="connsiteX99" fmla="*/ 726549 w 1145140"/>
              <a:gd name="connsiteY99" fmla="*/ 1003704 h 1146608"/>
              <a:gd name="connsiteX100" fmla="*/ 622447 w 1145140"/>
              <a:gd name="connsiteY100" fmla="*/ 1046539 h 1146608"/>
              <a:gd name="connsiteX101" fmla="*/ 622447 w 1145140"/>
              <a:gd name="connsiteY101" fmla="*/ 1104133 h 1146608"/>
              <a:gd name="connsiteX102" fmla="*/ 579942 w 1145140"/>
              <a:gd name="connsiteY102" fmla="*/ 1146608 h 1146608"/>
              <a:gd name="connsiteX103" fmla="*/ 444862 w 1145140"/>
              <a:gd name="connsiteY103" fmla="*/ 1146608 h 1146608"/>
              <a:gd name="connsiteX104" fmla="*/ 402357 w 1145140"/>
              <a:gd name="connsiteY104" fmla="*/ 1104133 h 1146608"/>
              <a:gd name="connsiteX105" fmla="*/ 402357 w 1145140"/>
              <a:gd name="connsiteY105" fmla="*/ 1046539 h 1146608"/>
              <a:gd name="connsiteX106" fmla="*/ 298616 w 1145140"/>
              <a:gd name="connsiteY106" fmla="*/ 1003344 h 1146608"/>
              <a:gd name="connsiteX107" fmla="*/ 257552 w 1145140"/>
              <a:gd name="connsiteY107" fmla="*/ 1044020 h 1146608"/>
              <a:gd name="connsiteX108" fmla="*/ 197756 w 1145140"/>
              <a:gd name="connsiteY108" fmla="*/ 1044020 h 1146608"/>
              <a:gd name="connsiteX109" fmla="*/ 101940 w 1145140"/>
              <a:gd name="connsiteY109" fmla="*/ 948271 h 1146608"/>
              <a:gd name="connsiteX110" fmla="*/ 101940 w 1145140"/>
              <a:gd name="connsiteY110" fmla="*/ 888517 h 1146608"/>
              <a:gd name="connsiteX111" fmla="*/ 143004 w 1145140"/>
              <a:gd name="connsiteY111" fmla="*/ 847842 h 1146608"/>
              <a:gd name="connsiteX112" fmla="*/ 99779 w 1145140"/>
              <a:gd name="connsiteY112" fmla="*/ 743813 h 1146608"/>
              <a:gd name="connsiteX113" fmla="*/ 42145 w 1145140"/>
              <a:gd name="connsiteY113" fmla="*/ 743813 h 1146608"/>
              <a:gd name="connsiteX114" fmla="*/ 0 w 1145140"/>
              <a:gd name="connsiteY114" fmla="*/ 701698 h 1146608"/>
              <a:gd name="connsiteX115" fmla="*/ 0 w 1145140"/>
              <a:gd name="connsiteY115" fmla="*/ 565993 h 1146608"/>
              <a:gd name="connsiteX116" fmla="*/ 42145 w 1145140"/>
              <a:gd name="connsiteY116" fmla="*/ 523878 h 1146608"/>
              <a:gd name="connsiteX117" fmla="*/ 99779 w 1145140"/>
              <a:gd name="connsiteY117" fmla="*/ 523878 h 1146608"/>
              <a:gd name="connsiteX118" fmla="*/ 142644 w 1145140"/>
              <a:gd name="connsiteY118" fmla="*/ 419849 h 1146608"/>
              <a:gd name="connsiteX119" fmla="*/ 101940 w 1145140"/>
              <a:gd name="connsiteY119" fmla="*/ 379174 h 1146608"/>
              <a:gd name="connsiteX120" fmla="*/ 101940 w 1145140"/>
              <a:gd name="connsiteY120" fmla="*/ 319421 h 1146608"/>
              <a:gd name="connsiteX121" fmla="*/ 197756 w 1145140"/>
              <a:gd name="connsiteY121" fmla="*/ 223671 h 1146608"/>
              <a:gd name="connsiteX122" fmla="*/ 257552 w 1145140"/>
              <a:gd name="connsiteY122" fmla="*/ 223671 h 1146608"/>
              <a:gd name="connsiteX123" fmla="*/ 298256 w 1145140"/>
              <a:gd name="connsiteY123" fmla="*/ 264347 h 1146608"/>
              <a:gd name="connsiteX124" fmla="*/ 402357 w 1145140"/>
              <a:gd name="connsiteY124" fmla="*/ 220792 h 1146608"/>
              <a:gd name="connsiteX125" fmla="*/ 402357 w 1145140"/>
              <a:gd name="connsiteY125" fmla="*/ 163918 h 1146608"/>
              <a:gd name="connsiteX126" fmla="*/ 444862 w 1145140"/>
              <a:gd name="connsiteY126" fmla="*/ 121443 h 1146608"/>
              <a:gd name="connsiteX127" fmla="*/ 941862 w 1145140"/>
              <a:gd name="connsiteY127" fmla="*/ 44823 h 1146608"/>
              <a:gd name="connsiteX128" fmla="*/ 925668 w 1145140"/>
              <a:gd name="connsiteY128" fmla="*/ 52380 h 1146608"/>
              <a:gd name="connsiteX129" fmla="*/ 782805 w 1145140"/>
              <a:gd name="connsiteY129" fmla="*/ 194883 h 1146608"/>
              <a:gd name="connsiteX130" fmla="*/ 782805 w 1145140"/>
              <a:gd name="connsiteY130" fmla="*/ 330548 h 1146608"/>
              <a:gd name="connsiteX131" fmla="*/ 845780 w 1145140"/>
              <a:gd name="connsiteY131" fmla="*/ 267574 h 1146608"/>
              <a:gd name="connsiteX132" fmla="*/ 968131 w 1145140"/>
              <a:gd name="connsiteY132" fmla="*/ 145222 h 1146608"/>
              <a:gd name="connsiteX133" fmla="*/ 968131 w 1145140"/>
              <a:gd name="connsiteY133" fmla="*/ 70013 h 1146608"/>
              <a:gd name="connsiteX134" fmla="*/ 952657 w 1145140"/>
              <a:gd name="connsiteY134" fmla="*/ 46982 h 1146608"/>
              <a:gd name="connsiteX135" fmla="*/ 941862 w 1145140"/>
              <a:gd name="connsiteY135" fmla="*/ 44823 h 1146608"/>
              <a:gd name="connsiteX136" fmla="*/ 929672 w 1145140"/>
              <a:gd name="connsiteY136" fmla="*/ 1280 h 1146608"/>
              <a:gd name="connsiteX137" fmla="*/ 969930 w 1145140"/>
              <a:gd name="connsiteY137" fmla="*/ 5598 h 1146608"/>
              <a:gd name="connsiteX138" fmla="*/ 1012753 w 1145140"/>
              <a:gd name="connsiteY138" fmla="*/ 69653 h 1146608"/>
              <a:gd name="connsiteX139" fmla="*/ 1013113 w 1145140"/>
              <a:gd name="connsiteY139" fmla="*/ 132268 h 1146608"/>
              <a:gd name="connsiteX140" fmla="*/ 1075368 w 1145140"/>
              <a:gd name="connsiteY140" fmla="*/ 132268 h 1146608"/>
              <a:gd name="connsiteX141" fmla="*/ 1139783 w 1145140"/>
              <a:gd name="connsiteY141" fmla="*/ 175450 h 1146608"/>
              <a:gd name="connsiteX142" fmla="*/ 1124669 w 1145140"/>
              <a:gd name="connsiteY142" fmla="*/ 251380 h 1146608"/>
              <a:gd name="connsiteX143" fmla="*/ 975328 w 1145140"/>
              <a:gd name="connsiteY143" fmla="*/ 400720 h 1146608"/>
              <a:gd name="connsiteX144" fmla="*/ 959854 w 1145140"/>
              <a:gd name="connsiteY144" fmla="*/ 407198 h 1146608"/>
              <a:gd name="connsiteX145" fmla="*/ 769490 w 1145140"/>
              <a:gd name="connsiteY145" fmla="*/ 407198 h 1146608"/>
              <a:gd name="connsiteX146" fmla="*/ 745380 w 1145140"/>
              <a:gd name="connsiteY146" fmla="*/ 431308 h 1146608"/>
              <a:gd name="connsiteX147" fmla="*/ 819870 w 1145140"/>
              <a:gd name="connsiteY147" fmla="*/ 610516 h 1146608"/>
              <a:gd name="connsiteX148" fmla="*/ 845780 w 1145140"/>
              <a:gd name="connsiteY148" fmla="*/ 610516 h 1146608"/>
              <a:gd name="connsiteX149" fmla="*/ 868451 w 1145140"/>
              <a:gd name="connsiteY149" fmla="*/ 633188 h 1146608"/>
              <a:gd name="connsiteX150" fmla="*/ 845780 w 1145140"/>
              <a:gd name="connsiteY150" fmla="*/ 655499 h 1146608"/>
              <a:gd name="connsiteX151" fmla="*/ 819870 w 1145140"/>
              <a:gd name="connsiteY151" fmla="*/ 655499 h 1146608"/>
              <a:gd name="connsiteX152" fmla="*/ 730266 w 1145140"/>
              <a:gd name="connsiteY152" fmla="*/ 851261 h 1146608"/>
              <a:gd name="connsiteX153" fmla="*/ 534144 w 1145140"/>
              <a:gd name="connsiteY153" fmla="*/ 941225 h 1146608"/>
              <a:gd name="connsiteX154" fmla="*/ 534144 w 1145140"/>
              <a:gd name="connsiteY154" fmla="*/ 967134 h 1146608"/>
              <a:gd name="connsiteX155" fmla="*/ 511833 w 1145140"/>
              <a:gd name="connsiteY155" fmla="*/ 989445 h 1146608"/>
              <a:gd name="connsiteX156" fmla="*/ 489882 w 1145140"/>
              <a:gd name="connsiteY156" fmla="*/ 967134 h 1146608"/>
              <a:gd name="connsiteX157" fmla="*/ 489882 w 1145140"/>
              <a:gd name="connsiteY157" fmla="*/ 941225 h 1146608"/>
              <a:gd name="connsiteX158" fmla="*/ 293760 w 1145140"/>
              <a:gd name="connsiteY158" fmla="*/ 851261 h 1146608"/>
              <a:gd name="connsiteX159" fmla="*/ 204515 w 1145140"/>
              <a:gd name="connsiteY159" fmla="*/ 655499 h 1146608"/>
              <a:gd name="connsiteX160" fmla="*/ 178246 w 1145140"/>
              <a:gd name="connsiteY160" fmla="*/ 655499 h 1146608"/>
              <a:gd name="connsiteX161" fmla="*/ 155575 w 1145140"/>
              <a:gd name="connsiteY161" fmla="*/ 633188 h 1146608"/>
              <a:gd name="connsiteX162" fmla="*/ 178246 w 1145140"/>
              <a:gd name="connsiteY162" fmla="*/ 610516 h 1146608"/>
              <a:gd name="connsiteX163" fmla="*/ 204515 w 1145140"/>
              <a:gd name="connsiteY163" fmla="*/ 610516 h 1146608"/>
              <a:gd name="connsiteX164" fmla="*/ 233304 w 1145140"/>
              <a:gd name="connsiteY164" fmla="*/ 500760 h 1146608"/>
              <a:gd name="connsiteX165" fmla="*/ 263172 w 1145140"/>
              <a:gd name="connsiteY165" fmla="*/ 489965 h 1146608"/>
              <a:gd name="connsiteX166" fmla="*/ 273608 w 1145140"/>
              <a:gd name="connsiteY166" fmla="*/ 519833 h 1146608"/>
              <a:gd name="connsiteX167" fmla="*/ 249137 w 1145140"/>
              <a:gd name="connsiteY167" fmla="*/ 610516 h 1146608"/>
              <a:gd name="connsiteX168" fmla="*/ 269289 w 1145140"/>
              <a:gd name="connsiteY168" fmla="*/ 610516 h 1146608"/>
              <a:gd name="connsiteX169" fmla="*/ 291601 w 1145140"/>
              <a:gd name="connsiteY169" fmla="*/ 633188 h 1146608"/>
              <a:gd name="connsiteX170" fmla="*/ 269289 w 1145140"/>
              <a:gd name="connsiteY170" fmla="*/ 655499 h 1146608"/>
              <a:gd name="connsiteX171" fmla="*/ 249497 w 1145140"/>
              <a:gd name="connsiteY171" fmla="*/ 655499 h 1146608"/>
              <a:gd name="connsiteX172" fmla="*/ 325787 w 1145140"/>
              <a:gd name="connsiteY172" fmla="*/ 819593 h 1146608"/>
              <a:gd name="connsiteX173" fmla="*/ 489882 w 1145140"/>
              <a:gd name="connsiteY173" fmla="*/ 895883 h 1146608"/>
              <a:gd name="connsiteX174" fmla="*/ 489882 w 1145140"/>
              <a:gd name="connsiteY174" fmla="*/ 876091 h 1146608"/>
              <a:gd name="connsiteX175" fmla="*/ 511833 w 1145140"/>
              <a:gd name="connsiteY175" fmla="*/ 853780 h 1146608"/>
              <a:gd name="connsiteX176" fmla="*/ 534144 w 1145140"/>
              <a:gd name="connsiteY176" fmla="*/ 876091 h 1146608"/>
              <a:gd name="connsiteX177" fmla="*/ 534144 w 1145140"/>
              <a:gd name="connsiteY177" fmla="*/ 895883 h 1146608"/>
              <a:gd name="connsiteX178" fmla="*/ 698599 w 1145140"/>
              <a:gd name="connsiteY178" fmla="*/ 819593 h 1146608"/>
              <a:gd name="connsiteX179" fmla="*/ 774888 w 1145140"/>
              <a:gd name="connsiteY179" fmla="*/ 655499 h 1146608"/>
              <a:gd name="connsiteX180" fmla="*/ 755096 w 1145140"/>
              <a:gd name="connsiteY180" fmla="*/ 655499 h 1146608"/>
              <a:gd name="connsiteX181" fmla="*/ 732785 w 1145140"/>
              <a:gd name="connsiteY181" fmla="*/ 633188 h 1146608"/>
              <a:gd name="connsiteX182" fmla="*/ 755096 w 1145140"/>
              <a:gd name="connsiteY182" fmla="*/ 610516 h 1146608"/>
              <a:gd name="connsiteX183" fmla="*/ 774888 w 1145140"/>
              <a:gd name="connsiteY183" fmla="*/ 610516 h 1146608"/>
              <a:gd name="connsiteX184" fmla="*/ 713713 w 1145140"/>
              <a:gd name="connsiteY184" fmla="*/ 462975 h 1146608"/>
              <a:gd name="connsiteX185" fmla="*/ 650018 w 1145140"/>
              <a:gd name="connsiteY185" fmla="*/ 526670 h 1146608"/>
              <a:gd name="connsiteX186" fmla="*/ 686364 w 1145140"/>
              <a:gd name="connsiteY186" fmla="*/ 633188 h 1146608"/>
              <a:gd name="connsiteX187" fmla="*/ 511833 w 1145140"/>
              <a:gd name="connsiteY187" fmla="*/ 807358 h 1146608"/>
              <a:gd name="connsiteX188" fmla="*/ 337662 w 1145140"/>
              <a:gd name="connsiteY188" fmla="*/ 633188 h 1146608"/>
              <a:gd name="connsiteX189" fmla="*/ 511833 w 1145140"/>
              <a:gd name="connsiteY189" fmla="*/ 458657 h 1146608"/>
              <a:gd name="connsiteX190" fmla="*/ 618351 w 1145140"/>
              <a:gd name="connsiteY190" fmla="*/ 495003 h 1146608"/>
              <a:gd name="connsiteX191" fmla="*/ 682045 w 1145140"/>
              <a:gd name="connsiteY191" fmla="*/ 431308 h 1146608"/>
              <a:gd name="connsiteX192" fmla="*/ 534144 w 1145140"/>
              <a:gd name="connsiteY192" fmla="*/ 370133 h 1146608"/>
              <a:gd name="connsiteX193" fmla="*/ 534144 w 1145140"/>
              <a:gd name="connsiteY193" fmla="*/ 389925 h 1146608"/>
              <a:gd name="connsiteX194" fmla="*/ 511833 w 1145140"/>
              <a:gd name="connsiteY194" fmla="*/ 412236 h 1146608"/>
              <a:gd name="connsiteX195" fmla="*/ 489882 w 1145140"/>
              <a:gd name="connsiteY195" fmla="*/ 389925 h 1146608"/>
              <a:gd name="connsiteX196" fmla="*/ 489882 w 1145140"/>
              <a:gd name="connsiteY196" fmla="*/ 370133 h 1146608"/>
              <a:gd name="connsiteX197" fmla="*/ 395239 w 1145140"/>
              <a:gd name="connsiteY197" fmla="*/ 396042 h 1146608"/>
              <a:gd name="connsiteX198" fmla="*/ 365371 w 1145140"/>
              <a:gd name="connsiteY198" fmla="*/ 385966 h 1146608"/>
              <a:gd name="connsiteX199" fmla="*/ 375447 w 1145140"/>
              <a:gd name="connsiteY199" fmla="*/ 356098 h 1146608"/>
              <a:gd name="connsiteX200" fmla="*/ 489882 w 1145140"/>
              <a:gd name="connsiteY200" fmla="*/ 325151 h 1146608"/>
              <a:gd name="connsiteX201" fmla="*/ 489882 w 1145140"/>
              <a:gd name="connsiteY201" fmla="*/ 298881 h 1146608"/>
              <a:gd name="connsiteX202" fmla="*/ 511833 w 1145140"/>
              <a:gd name="connsiteY202" fmla="*/ 276570 h 1146608"/>
              <a:gd name="connsiteX203" fmla="*/ 534144 w 1145140"/>
              <a:gd name="connsiteY203" fmla="*/ 298881 h 1146608"/>
              <a:gd name="connsiteX204" fmla="*/ 534144 w 1145140"/>
              <a:gd name="connsiteY204" fmla="*/ 325151 h 1146608"/>
              <a:gd name="connsiteX205" fmla="*/ 713713 w 1145140"/>
              <a:gd name="connsiteY205" fmla="*/ 399641 h 1146608"/>
              <a:gd name="connsiteX206" fmla="*/ 738183 w 1145140"/>
              <a:gd name="connsiteY206" fmla="*/ 375530 h 1146608"/>
              <a:gd name="connsiteX207" fmla="*/ 738183 w 1145140"/>
              <a:gd name="connsiteY207" fmla="*/ 185526 h 1146608"/>
              <a:gd name="connsiteX208" fmla="*/ 744660 w 1145140"/>
              <a:gd name="connsiteY208" fmla="*/ 169693 h 1146608"/>
              <a:gd name="connsiteX209" fmla="*/ 894001 w 1145140"/>
              <a:gd name="connsiteY209" fmla="*/ 20712 h 1146608"/>
              <a:gd name="connsiteX210" fmla="*/ 929672 w 1145140"/>
              <a:gd name="connsiteY210" fmla="*/ 1280 h 114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145140" h="1146608">
                <a:moveTo>
                  <a:pt x="509588" y="613568"/>
                </a:moveTo>
                <a:cubicBezTo>
                  <a:pt x="515324" y="613568"/>
                  <a:pt x="521059" y="615702"/>
                  <a:pt x="525002" y="619969"/>
                </a:cubicBezTo>
                <a:cubicBezTo>
                  <a:pt x="529304" y="624236"/>
                  <a:pt x="531455" y="629926"/>
                  <a:pt x="531455" y="635615"/>
                </a:cubicBezTo>
                <a:cubicBezTo>
                  <a:pt x="531455" y="641661"/>
                  <a:pt x="529304" y="646995"/>
                  <a:pt x="525002" y="651262"/>
                </a:cubicBezTo>
                <a:cubicBezTo>
                  <a:pt x="521059" y="655173"/>
                  <a:pt x="515324" y="657663"/>
                  <a:pt x="509588" y="657663"/>
                </a:cubicBezTo>
                <a:cubicBezTo>
                  <a:pt x="503494" y="657663"/>
                  <a:pt x="497759" y="655173"/>
                  <a:pt x="493816" y="651262"/>
                </a:cubicBezTo>
                <a:cubicBezTo>
                  <a:pt x="489873" y="646995"/>
                  <a:pt x="487363" y="641661"/>
                  <a:pt x="487363" y="635615"/>
                </a:cubicBezTo>
                <a:cubicBezTo>
                  <a:pt x="487363" y="629926"/>
                  <a:pt x="489873" y="624236"/>
                  <a:pt x="493816" y="619969"/>
                </a:cubicBezTo>
                <a:cubicBezTo>
                  <a:pt x="497759" y="615702"/>
                  <a:pt x="503494" y="613568"/>
                  <a:pt x="509588" y="613568"/>
                </a:cubicBezTo>
                <a:close/>
                <a:moveTo>
                  <a:pt x="511833" y="503279"/>
                </a:moveTo>
                <a:cubicBezTo>
                  <a:pt x="440581" y="503279"/>
                  <a:pt x="382644" y="561576"/>
                  <a:pt x="382644" y="633188"/>
                </a:cubicBezTo>
                <a:cubicBezTo>
                  <a:pt x="382644" y="704439"/>
                  <a:pt x="440581" y="763096"/>
                  <a:pt x="511833" y="763096"/>
                </a:cubicBezTo>
                <a:cubicBezTo>
                  <a:pt x="583445" y="763096"/>
                  <a:pt x="641741" y="704439"/>
                  <a:pt x="641741" y="633188"/>
                </a:cubicBezTo>
                <a:cubicBezTo>
                  <a:pt x="641741" y="605478"/>
                  <a:pt x="632745" y="579929"/>
                  <a:pt x="617991" y="558697"/>
                </a:cubicBezTo>
                <a:lnTo>
                  <a:pt x="578407" y="598281"/>
                </a:lnTo>
                <a:cubicBezTo>
                  <a:pt x="574088" y="602600"/>
                  <a:pt x="568331" y="604759"/>
                  <a:pt x="562573" y="604759"/>
                </a:cubicBezTo>
                <a:cubicBezTo>
                  <a:pt x="556815" y="604759"/>
                  <a:pt x="551417" y="602600"/>
                  <a:pt x="546739" y="598281"/>
                </a:cubicBezTo>
                <a:cubicBezTo>
                  <a:pt x="538103" y="589645"/>
                  <a:pt x="538103" y="575251"/>
                  <a:pt x="546739" y="566614"/>
                </a:cubicBezTo>
                <a:lnTo>
                  <a:pt x="586683" y="527030"/>
                </a:lnTo>
                <a:cubicBezTo>
                  <a:pt x="565452" y="512276"/>
                  <a:pt x="539542" y="503279"/>
                  <a:pt x="511833" y="503279"/>
                </a:cubicBezTo>
                <a:close/>
                <a:moveTo>
                  <a:pt x="310177" y="407770"/>
                </a:moveTo>
                <a:cubicBezTo>
                  <a:pt x="315924" y="407770"/>
                  <a:pt x="321672" y="409934"/>
                  <a:pt x="325982" y="414264"/>
                </a:cubicBezTo>
                <a:cubicBezTo>
                  <a:pt x="334604" y="423284"/>
                  <a:pt x="334604" y="437355"/>
                  <a:pt x="325982" y="446014"/>
                </a:cubicBezTo>
                <a:lnTo>
                  <a:pt x="325982" y="446375"/>
                </a:lnTo>
                <a:cubicBezTo>
                  <a:pt x="321672" y="450704"/>
                  <a:pt x="315565" y="452869"/>
                  <a:pt x="310177" y="452869"/>
                </a:cubicBezTo>
                <a:cubicBezTo>
                  <a:pt x="304429" y="452869"/>
                  <a:pt x="298682" y="450704"/>
                  <a:pt x="294012" y="446375"/>
                </a:cubicBezTo>
                <a:cubicBezTo>
                  <a:pt x="285750" y="437716"/>
                  <a:pt x="285750" y="423284"/>
                  <a:pt x="294012" y="414625"/>
                </a:cubicBezTo>
                <a:lnTo>
                  <a:pt x="294371" y="414264"/>
                </a:lnTo>
                <a:cubicBezTo>
                  <a:pt x="298682" y="409934"/>
                  <a:pt x="304429" y="407770"/>
                  <a:pt x="310177" y="407770"/>
                </a:cubicBezTo>
                <a:close/>
                <a:moveTo>
                  <a:pt x="999799" y="176890"/>
                </a:moveTo>
                <a:lnTo>
                  <a:pt x="877447" y="299241"/>
                </a:lnTo>
                <a:lnTo>
                  <a:pt x="814472" y="362216"/>
                </a:lnTo>
                <a:lnTo>
                  <a:pt x="950498" y="362216"/>
                </a:lnTo>
                <a:lnTo>
                  <a:pt x="1093001" y="219713"/>
                </a:lnTo>
                <a:cubicBezTo>
                  <a:pt x="1103797" y="208917"/>
                  <a:pt x="1099839" y="195962"/>
                  <a:pt x="1098039" y="192364"/>
                </a:cubicBezTo>
                <a:cubicBezTo>
                  <a:pt x="1096960" y="188765"/>
                  <a:pt x="1090842" y="176890"/>
                  <a:pt x="1075368" y="176890"/>
                </a:cubicBezTo>
                <a:close/>
                <a:moveTo>
                  <a:pt x="444862" y="121443"/>
                </a:moveTo>
                <a:lnTo>
                  <a:pt x="579942" y="121443"/>
                </a:lnTo>
                <a:cubicBezTo>
                  <a:pt x="603356" y="121443"/>
                  <a:pt x="622447" y="140521"/>
                  <a:pt x="622447" y="163918"/>
                </a:cubicBezTo>
                <a:lnTo>
                  <a:pt x="622447" y="220792"/>
                </a:lnTo>
                <a:cubicBezTo>
                  <a:pt x="633614" y="223671"/>
                  <a:pt x="644781" y="227271"/>
                  <a:pt x="655947" y="230870"/>
                </a:cubicBezTo>
                <a:cubicBezTo>
                  <a:pt x="667474" y="235190"/>
                  <a:pt x="673598" y="247789"/>
                  <a:pt x="669275" y="259667"/>
                </a:cubicBezTo>
                <a:cubicBezTo>
                  <a:pt x="665313" y="271186"/>
                  <a:pt x="652345" y="277305"/>
                  <a:pt x="640818" y="273346"/>
                </a:cubicBezTo>
                <a:cubicBezTo>
                  <a:pt x="630372" y="269386"/>
                  <a:pt x="619926" y="266147"/>
                  <a:pt x="609120" y="263627"/>
                </a:cubicBezTo>
                <a:cubicBezTo>
                  <a:pt x="590749" y="258587"/>
                  <a:pt x="577421" y="241669"/>
                  <a:pt x="577421" y="222591"/>
                </a:cubicBezTo>
                <a:lnTo>
                  <a:pt x="577421" y="166438"/>
                </a:lnTo>
                <a:lnTo>
                  <a:pt x="447384" y="166438"/>
                </a:lnTo>
                <a:lnTo>
                  <a:pt x="447384" y="222591"/>
                </a:lnTo>
                <a:cubicBezTo>
                  <a:pt x="447384" y="242029"/>
                  <a:pt x="434416" y="258587"/>
                  <a:pt x="415685" y="263627"/>
                </a:cubicBezTo>
                <a:cubicBezTo>
                  <a:pt x="381825" y="272266"/>
                  <a:pt x="349406" y="285944"/>
                  <a:pt x="319148" y="303942"/>
                </a:cubicBezTo>
                <a:cubicBezTo>
                  <a:pt x="302578" y="313301"/>
                  <a:pt x="281686" y="310782"/>
                  <a:pt x="267998" y="297103"/>
                </a:cubicBezTo>
                <a:lnTo>
                  <a:pt x="228014" y="257148"/>
                </a:lnTo>
                <a:lnTo>
                  <a:pt x="135440" y="349297"/>
                </a:lnTo>
                <a:lnTo>
                  <a:pt x="175783" y="389613"/>
                </a:lnTo>
                <a:cubicBezTo>
                  <a:pt x="189472" y="402931"/>
                  <a:pt x="191993" y="424169"/>
                  <a:pt x="182627" y="440727"/>
                </a:cubicBezTo>
                <a:cubicBezTo>
                  <a:pt x="164617" y="470964"/>
                  <a:pt x="151289" y="503360"/>
                  <a:pt x="142644" y="537196"/>
                </a:cubicBezTo>
                <a:cubicBezTo>
                  <a:pt x="137601" y="555914"/>
                  <a:pt x="121031" y="568513"/>
                  <a:pt x="101580" y="568513"/>
                </a:cubicBezTo>
                <a:lnTo>
                  <a:pt x="44666" y="568513"/>
                </a:lnTo>
                <a:lnTo>
                  <a:pt x="44666" y="699178"/>
                </a:lnTo>
                <a:lnTo>
                  <a:pt x="101580" y="699178"/>
                </a:lnTo>
                <a:cubicBezTo>
                  <a:pt x="121031" y="699178"/>
                  <a:pt x="137961" y="712137"/>
                  <a:pt x="142644" y="730495"/>
                </a:cubicBezTo>
                <a:cubicBezTo>
                  <a:pt x="151289" y="764331"/>
                  <a:pt x="164977" y="796727"/>
                  <a:pt x="182627" y="826964"/>
                </a:cubicBezTo>
                <a:cubicBezTo>
                  <a:pt x="191993" y="843522"/>
                  <a:pt x="189832" y="864400"/>
                  <a:pt x="175783" y="878078"/>
                </a:cubicBezTo>
                <a:lnTo>
                  <a:pt x="135440" y="918394"/>
                </a:lnTo>
                <a:lnTo>
                  <a:pt x="228014" y="1010903"/>
                </a:lnTo>
                <a:lnTo>
                  <a:pt x="268358" y="970228"/>
                </a:lnTo>
                <a:cubicBezTo>
                  <a:pt x="282046" y="956910"/>
                  <a:pt x="302938" y="954030"/>
                  <a:pt x="319508" y="963749"/>
                </a:cubicBezTo>
                <a:cubicBezTo>
                  <a:pt x="349406" y="981387"/>
                  <a:pt x="382185" y="994705"/>
                  <a:pt x="415685" y="1003704"/>
                </a:cubicBezTo>
                <a:cubicBezTo>
                  <a:pt x="434416" y="1008744"/>
                  <a:pt x="447384" y="1025302"/>
                  <a:pt x="447384" y="1044380"/>
                </a:cubicBezTo>
                <a:lnTo>
                  <a:pt x="447384" y="1101613"/>
                </a:lnTo>
                <a:lnTo>
                  <a:pt x="577781" y="1101613"/>
                </a:lnTo>
                <a:lnTo>
                  <a:pt x="577781" y="1044740"/>
                </a:lnTo>
                <a:cubicBezTo>
                  <a:pt x="577781" y="1025662"/>
                  <a:pt x="590749" y="1008744"/>
                  <a:pt x="609120" y="1003704"/>
                </a:cubicBezTo>
                <a:cubicBezTo>
                  <a:pt x="642980" y="995065"/>
                  <a:pt x="675399" y="981387"/>
                  <a:pt x="705657" y="964109"/>
                </a:cubicBezTo>
                <a:cubicBezTo>
                  <a:pt x="722226" y="954390"/>
                  <a:pt x="743119" y="956910"/>
                  <a:pt x="756807" y="970588"/>
                </a:cubicBezTo>
                <a:lnTo>
                  <a:pt x="797150" y="1010903"/>
                </a:lnTo>
                <a:lnTo>
                  <a:pt x="889365" y="918394"/>
                </a:lnTo>
                <a:lnTo>
                  <a:pt x="849381" y="878438"/>
                </a:lnTo>
                <a:cubicBezTo>
                  <a:pt x="835693" y="864760"/>
                  <a:pt x="833172" y="843882"/>
                  <a:pt x="842897" y="827324"/>
                </a:cubicBezTo>
                <a:cubicBezTo>
                  <a:pt x="860548" y="797087"/>
                  <a:pt x="873876" y="764691"/>
                  <a:pt x="882881" y="730495"/>
                </a:cubicBezTo>
                <a:cubicBezTo>
                  <a:pt x="887564" y="712137"/>
                  <a:pt x="904494" y="699178"/>
                  <a:pt x="923945" y="699178"/>
                </a:cubicBezTo>
                <a:lnTo>
                  <a:pt x="980138" y="699178"/>
                </a:lnTo>
                <a:lnTo>
                  <a:pt x="980138" y="568513"/>
                </a:lnTo>
                <a:lnTo>
                  <a:pt x="923945" y="568513"/>
                </a:lnTo>
                <a:cubicBezTo>
                  <a:pt x="904494" y="568513"/>
                  <a:pt x="887924" y="555914"/>
                  <a:pt x="882881" y="537196"/>
                </a:cubicBezTo>
                <a:cubicBezTo>
                  <a:pt x="879999" y="526037"/>
                  <a:pt x="876757" y="515239"/>
                  <a:pt x="873155" y="504800"/>
                </a:cubicBezTo>
                <a:cubicBezTo>
                  <a:pt x="868833" y="493281"/>
                  <a:pt x="874956" y="480323"/>
                  <a:pt x="886483" y="476363"/>
                </a:cubicBezTo>
                <a:cubicBezTo>
                  <a:pt x="898370" y="472043"/>
                  <a:pt x="910978" y="478163"/>
                  <a:pt x="915300" y="489681"/>
                </a:cubicBezTo>
                <a:cubicBezTo>
                  <a:pt x="919263" y="500840"/>
                  <a:pt x="922865" y="512359"/>
                  <a:pt x="925746" y="523878"/>
                </a:cubicBezTo>
                <a:lnTo>
                  <a:pt x="982660" y="523878"/>
                </a:lnTo>
                <a:cubicBezTo>
                  <a:pt x="1006074" y="523878"/>
                  <a:pt x="1025165" y="542955"/>
                  <a:pt x="1025165" y="565993"/>
                </a:cubicBezTo>
                <a:lnTo>
                  <a:pt x="1025165" y="701698"/>
                </a:lnTo>
                <a:cubicBezTo>
                  <a:pt x="1025165" y="724736"/>
                  <a:pt x="1006074" y="743813"/>
                  <a:pt x="982660" y="743813"/>
                </a:cubicBezTo>
                <a:lnTo>
                  <a:pt x="925746" y="743813"/>
                </a:lnTo>
                <a:cubicBezTo>
                  <a:pt x="916021" y="780529"/>
                  <a:pt x="901252" y="815445"/>
                  <a:pt x="882521" y="848202"/>
                </a:cubicBezTo>
                <a:lnTo>
                  <a:pt x="922865" y="888517"/>
                </a:lnTo>
                <a:cubicBezTo>
                  <a:pt x="939074" y="905075"/>
                  <a:pt x="939074" y="931712"/>
                  <a:pt x="922865" y="948271"/>
                </a:cubicBezTo>
                <a:lnTo>
                  <a:pt x="827048" y="1044020"/>
                </a:lnTo>
                <a:cubicBezTo>
                  <a:pt x="810478" y="1060578"/>
                  <a:pt x="783462" y="1060578"/>
                  <a:pt x="766893" y="1044020"/>
                </a:cubicBezTo>
                <a:lnTo>
                  <a:pt x="726549" y="1003704"/>
                </a:lnTo>
                <a:cubicBezTo>
                  <a:pt x="693770" y="1022422"/>
                  <a:pt x="658829" y="1036821"/>
                  <a:pt x="622447" y="1046539"/>
                </a:cubicBezTo>
                <a:lnTo>
                  <a:pt x="622447" y="1104133"/>
                </a:lnTo>
                <a:cubicBezTo>
                  <a:pt x="622447" y="1127530"/>
                  <a:pt x="603356" y="1146608"/>
                  <a:pt x="579942" y="1146608"/>
                </a:cubicBezTo>
                <a:lnTo>
                  <a:pt x="444862" y="1146608"/>
                </a:lnTo>
                <a:cubicBezTo>
                  <a:pt x="421448" y="1146608"/>
                  <a:pt x="402357" y="1127530"/>
                  <a:pt x="402357" y="1104133"/>
                </a:cubicBezTo>
                <a:lnTo>
                  <a:pt x="402357" y="1046539"/>
                </a:lnTo>
                <a:cubicBezTo>
                  <a:pt x="365976" y="1036821"/>
                  <a:pt x="331035" y="1022422"/>
                  <a:pt x="298616" y="1003344"/>
                </a:cubicBezTo>
                <a:lnTo>
                  <a:pt x="257552" y="1044020"/>
                </a:lnTo>
                <a:cubicBezTo>
                  <a:pt x="241342" y="1060578"/>
                  <a:pt x="214326" y="1060578"/>
                  <a:pt x="197756" y="1044020"/>
                </a:cubicBezTo>
                <a:lnTo>
                  <a:pt x="101940" y="948271"/>
                </a:lnTo>
                <a:cubicBezTo>
                  <a:pt x="85730" y="931712"/>
                  <a:pt x="85730" y="905075"/>
                  <a:pt x="101940" y="888517"/>
                </a:cubicBezTo>
                <a:lnTo>
                  <a:pt x="143004" y="847842"/>
                </a:lnTo>
                <a:cubicBezTo>
                  <a:pt x="123913" y="815085"/>
                  <a:pt x="109504" y="780169"/>
                  <a:pt x="99779" y="743813"/>
                </a:cubicBezTo>
                <a:lnTo>
                  <a:pt x="42145" y="743813"/>
                </a:lnTo>
                <a:cubicBezTo>
                  <a:pt x="19091" y="743813"/>
                  <a:pt x="0" y="724736"/>
                  <a:pt x="0" y="701698"/>
                </a:cubicBezTo>
                <a:lnTo>
                  <a:pt x="0" y="565993"/>
                </a:lnTo>
                <a:cubicBezTo>
                  <a:pt x="0" y="542955"/>
                  <a:pt x="19091" y="523878"/>
                  <a:pt x="42145" y="523878"/>
                </a:cubicBezTo>
                <a:lnTo>
                  <a:pt x="99779" y="523878"/>
                </a:lnTo>
                <a:cubicBezTo>
                  <a:pt x="109144" y="487522"/>
                  <a:pt x="123913" y="452606"/>
                  <a:pt x="142644" y="419849"/>
                </a:cubicBezTo>
                <a:lnTo>
                  <a:pt x="101940" y="379174"/>
                </a:lnTo>
                <a:cubicBezTo>
                  <a:pt x="85730" y="362616"/>
                  <a:pt x="85730" y="335979"/>
                  <a:pt x="101940" y="319421"/>
                </a:cubicBezTo>
                <a:lnTo>
                  <a:pt x="197756" y="223671"/>
                </a:lnTo>
                <a:cubicBezTo>
                  <a:pt x="214326" y="207113"/>
                  <a:pt x="241342" y="207113"/>
                  <a:pt x="257552" y="223671"/>
                </a:cubicBezTo>
                <a:lnTo>
                  <a:pt x="298256" y="264347"/>
                </a:lnTo>
                <a:cubicBezTo>
                  <a:pt x="331035" y="245269"/>
                  <a:pt x="365976" y="230511"/>
                  <a:pt x="402357" y="220792"/>
                </a:cubicBezTo>
                <a:lnTo>
                  <a:pt x="402357" y="163918"/>
                </a:lnTo>
                <a:cubicBezTo>
                  <a:pt x="402357" y="140521"/>
                  <a:pt x="421448" y="121443"/>
                  <a:pt x="444862" y="121443"/>
                </a:cubicBezTo>
                <a:close/>
                <a:moveTo>
                  <a:pt x="941862" y="44823"/>
                </a:moveTo>
                <a:cubicBezTo>
                  <a:pt x="936914" y="45003"/>
                  <a:pt x="931066" y="46802"/>
                  <a:pt x="925668" y="52380"/>
                </a:cubicBezTo>
                <a:lnTo>
                  <a:pt x="782805" y="194883"/>
                </a:lnTo>
                <a:lnTo>
                  <a:pt x="782805" y="330548"/>
                </a:lnTo>
                <a:lnTo>
                  <a:pt x="845780" y="267574"/>
                </a:lnTo>
                <a:lnTo>
                  <a:pt x="968131" y="145222"/>
                </a:lnTo>
                <a:lnTo>
                  <a:pt x="968131" y="70013"/>
                </a:lnTo>
                <a:cubicBezTo>
                  <a:pt x="968131" y="54539"/>
                  <a:pt x="956256" y="48421"/>
                  <a:pt x="952657" y="46982"/>
                </a:cubicBezTo>
                <a:cubicBezTo>
                  <a:pt x="950858" y="46082"/>
                  <a:pt x="946810" y="44643"/>
                  <a:pt x="941862" y="44823"/>
                </a:cubicBezTo>
                <a:close/>
                <a:moveTo>
                  <a:pt x="929672" y="1280"/>
                </a:moveTo>
                <a:cubicBezTo>
                  <a:pt x="942761" y="-1329"/>
                  <a:pt x="956616" y="21"/>
                  <a:pt x="969930" y="5598"/>
                </a:cubicBezTo>
                <a:cubicBezTo>
                  <a:pt x="996200" y="16394"/>
                  <a:pt x="1012753" y="41224"/>
                  <a:pt x="1012753" y="69653"/>
                </a:cubicBezTo>
                <a:lnTo>
                  <a:pt x="1013113" y="132268"/>
                </a:lnTo>
                <a:lnTo>
                  <a:pt x="1075368" y="132268"/>
                </a:lnTo>
                <a:cubicBezTo>
                  <a:pt x="1104157" y="132268"/>
                  <a:pt x="1128627" y="148821"/>
                  <a:pt x="1139783" y="175450"/>
                </a:cubicBezTo>
                <a:cubicBezTo>
                  <a:pt x="1150578" y="201720"/>
                  <a:pt x="1144821" y="230868"/>
                  <a:pt x="1124669" y="251380"/>
                </a:cubicBezTo>
                <a:lnTo>
                  <a:pt x="975328" y="400720"/>
                </a:lnTo>
                <a:cubicBezTo>
                  <a:pt x="971370" y="405039"/>
                  <a:pt x="965612" y="407198"/>
                  <a:pt x="959854" y="407198"/>
                </a:cubicBezTo>
                <a:lnTo>
                  <a:pt x="769490" y="407198"/>
                </a:lnTo>
                <a:lnTo>
                  <a:pt x="745380" y="431308"/>
                </a:lnTo>
                <a:cubicBezTo>
                  <a:pt x="789282" y="481688"/>
                  <a:pt x="814832" y="544303"/>
                  <a:pt x="819870" y="610516"/>
                </a:cubicBezTo>
                <a:lnTo>
                  <a:pt x="845780" y="610516"/>
                </a:lnTo>
                <a:cubicBezTo>
                  <a:pt x="858375" y="610516"/>
                  <a:pt x="868451" y="620593"/>
                  <a:pt x="868451" y="633188"/>
                </a:cubicBezTo>
                <a:cubicBezTo>
                  <a:pt x="868451" y="645423"/>
                  <a:pt x="858375" y="655499"/>
                  <a:pt x="845780" y="655499"/>
                </a:cubicBezTo>
                <a:lnTo>
                  <a:pt x="819870" y="655499"/>
                </a:lnTo>
                <a:cubicBezTo>
                  <a:pt x="814472" y="729629"/>
                  <a:pt x="783165" y="798362"/>
                  <a:pt x="730266" y="851261"/>
                </a:cubicBezTo>
                <a:cubicBezTo>
                  <a:pt x="677367" y="904519"/>
                  <a:pt x="608275" y="935827"/>
                  <a:pt x="534144" y="941225"/>
                </a:cubicBezTo>
                <a:lnTo>
                  <a:pt x="534144" y="967134"/>
                </a:lnTo>
                <a:cubicBezTo>
                  <a:pt x="534144" y="979369"/>
                  <a:pt x="524068" y="989445"/>
                  <a:pt x="511833" y="989445"/>
                </a:cubicBezTo>
                <a:cubicBezTo>
                  <a:pt x="499598" y="989445"/>
                  <a:pt x="489882" y="979369"/>
                  <a:pt x="489882" y="967134"/>
                </a:cubicBezTo>
                <a:lnTo>
                  <a:pt x="489882" y="941225"/>
                </a:lnTo>
                <a:cubicBezTo>
                  <a:pt x="416111" y="935827"/>
                  <a:pt x="347018" y="904519"/>
                  <a:pt x="293760" y="851261"/>
                </a:cubicBezTo>
                <a:cubicBezTo>
                  <a:pt x="240501" y="797642"/>
                  <a:pt x="209913" y="727830"/>
                  <a:pt x="204515" y="655499"/>
                </a:cubicBezTo>
                <a:lnTo>
                  <a:pt x="178246" y="655499"/>
                </a:lnTo>
                <a:cubicBezTo>
                  <a:pt x="166011" y="655499"/>
                  <a:pt x="155575" y="645423"/>
                  <a:pt x="155575" y="633188"/>
                </a:cubicBezTo>
                <a:cubicBezTo>
                  <a:pt x="155575" y="620593"/>
                  <a:pt x="166011" y="610516"/>
                  <a:pt x="178246" y="610516"/>
                </a:cubicBezTo>
                <a:lnTo>
                  <a:pt x="204515" y="610516"/>
                </a:lnTo>
                <a:cubicBezTo>
                  <a:pt x="207034" y="573451"/>
                  <a:pt x="216750" y="536026"/>
                  <a:pt x="233304" y="500760"/>
                </a:cubicBezTo>
                <a:cubicBezTo>
                  <a:pt x="238702" y="489605"/>
                  <a:pt x="252016" y="484927"/>
                  <a:pt x="263172" y="489965"/>
                </a:cubicBezTo>
                <a:cubicBezTo>
                  <a:pt x="274327" y="495362"/>
                  <a:pt x="279006" y="508677"/>
                  <a:pt x="273608" y="519833"/>
                </a:cubicBezTo>
                <a:cubicBezTo>
                  <a:pt x="259933" y="548981"/>
                  <a:pt x="252016" y="579569"/>
                  <a:pt x="249137" y="610516"/>
                </a:cubicBezTo>
                <a:lnTo>
                  <a:pt x="269289" y="610516"/>
                </a:lnTo>
                <a:cubicBezTo>
                  <a:pt x="281525" y="610516"/>
                  <a:pt x="291601" y="620593"/>
                  <a:pt x="291601" y="633188"/>
                </a:cubicBezTo>
                <a:cubicBezTo>
                  <a:pt x="291601" y="645423"/>
                  <a:pt x="281525" y="655499"/>
                  <a:pt x="269289" y="655499"/>
                </a:cubicBezTo>
                <a:lnTo>
                  <a:pt x="249497" y="655499"/>
                </a:lnTo>
                <a:cubicBezTo>
                  <a:pt x="254535" y="716315"/>
                  <a:pt x="280805" y="774611"/>
                  <a:pt x="325787" y="819593"/>
                </a:cubicBezTo>
                <a:cubicBezTo>
                  <a:pt x="371489" y="865655"/>
                  <a:pt x="429785" y="890845"/>
                  <a:pt x="489882" y="895883"/>
                </a:cubicBezTo>
                <a:lnTo>
                  <a:pt x="489882" y="876091"/>
                </a:lnTo>
                <a:cubicBezTo>
                  <a:pt x="489882" y="863856"/>
                  <a:pt x="499598" y="853780"/>
                  <a:pt x="511833" y="853780"/>
                </a:cubicBezTo>
                <a:cubicBezTo>
                  <a:pt x="524068" y="853780"/>
                  <a:pt x="534144" y="863856"/>
                  <a:pt x="534144" y="876091"/>
                </a:cubicBezTo>
                <a:lnTo>
                  <a:pt x="534144" y="895883"/>
                </a:lnTo>
                <a:cubicBezTo>
                  <a:pt x="594240" y="890845"/>
                  <a:pt x="652897" y="865655"/>
                  <a:pt x="698599" y="819593"/>
                </a:cubicBezTo>
                <a:cubicBezTo>
                  <a:pt x="744300" y="773892"/>
                  <a:pt x="769850" y="715235"/>
                  <a:pt x="774888" y="655499"/>
                </a:cubicBezTo>
                <a:lnTo>
                  <a:pt x="755096" y="655499"/>
                </a:lnTo>
                <a:cubicBezTo>
                  <a:pt x="742861" y="655499"/>
                  <a:pt x="732785" y="645423"/>
                  <a:pt x="732785" y="633188"/>
                </a:cubicBezTo>
                <a:cubicBezTo>
                  <a:pt x="732785" y="620593"/>
                  <a:pt x="742861" y="610516"/>
                  <a:pt x="755096" y="610516"/>
                </a:cubicBezTo>
                <a:lnTo>
                  <a:pt x="774888" y="610516"/>
                </a:lnTo>
                <a:cubicBezTo>
                  <a:pt x="770210" y="557618"/>
                  <a:pt x="750058" y="505798"/>
                  <a:pt x="713713" y="462975"/>
                </a:cubicBezTo>
                <a:lnTo>
                  <a:pt x="650018" y="526670"/>
                </a:lnTo>
                <a:cubicBezTo>
                  <a:pt x="672689" y="556178"/>
                  <a:pt x="686364" y="593243"/>
                  <a:pt x="686364" y="633188"/>
                </a:cubicBezTo>
                <a:cubicBezTo>
                  <a:pt x="686364" y="729269"/>
                  <a:pt x="608275" y="807358"/>
                  <a:pt x="511833" y="807358"/>
                </a:cubicBezTo>
                <a:cubicBezTo>
                  <a:pt x="416111" y="807358"/>
                  <a:pt x="337662" y="729269"/>
                  <a:pt x="337662" y="633188"/>
                </a:cubicBezTo>
                <a:cubicBezTo>
                  <a:pt x="337662" y="537106"/>
                  <a:pt x="416111" y="458657"/>
                  <a:pt x="511833" y="458657"/>
                </a:cubicBezTo>
                <a:cubicBezTo>
                  <a:pt x="552137" y="458657"/>
                  <a:pt x="588842" y="472332"/>
                  <a:pt x="618351" y="495003"/>
                </a:cubicBezTo>
                <a:lnTo>
                  <a:pt x="682045" y="431308"/>
                </a:lnTo>
                <a:cubicBezTo>
                  <a:pt x="639582" y="395322"/>
                  <a:pt x="587763" y="374451"/>
                  <a:pt x="534144" y="370133"/>
                </a:cubicBezTo>
                <a:lnTo>
                  <a:pt x="534144" y="389925"/>
                </a:lnTo>
                <a:cubicBezTo>
                  <a:pt x="534144" y="402160"/>
                  <a:pt x="524068" y="412236"/>
                  <a:pt x="511833" y="412236"/>
                </a:cubicBezTo>
                <a:cubicBezTo>
                  <a:pt x="499598" y="412236"/>
                  <a:pt x="489882" y="402160"/>
                  <a:pt x="489882" y="389925"/>
                </a:cubicBezTo>
                <a:lnTo>
                  <a:pt x="489882" y="370133"/>
                </a:lnTo>
                <a:cubicBezTo>
                  <a:pt x="457854" y="372652"/>
                  <a:pt x="425467" y="381288"/>
                  <a:pt x="395239" y="396042"/>
                </a:cubicBezTo>
                <a:cubicBezTo>
                  <a:pt x="384443" y="401800"/>
                  <a:pt x="370769" y="397122"/>
                  <a:pt x="365371" y="385966"/>
                </a:cubicBezTo>
                <a:cubicBezTo>
                  <a:pt x="359973" y="375171"/>
                  <a:pt x="364651" y="361496"/>
                  <a:pt x="375447" y="356098"/>
                </a:cubicBezTo>
                <a:cubicBezTo>
                  <a:pt x="412152" y="338105"/>
                  <a:pt x="451017" y="328029"/>
                  <a:pt x="489882" y="325151"/>
                </a:cubicBezTo>
                <a:lnTo>
                  <a:pt x="489882" y="298881"/>
                </a:lnTo>
                <a:cubicBezTo>
                  <a:pt x="489882" y="286646"/>
                  <a:pt x="499598" y="276570"/>
                  <a:pt x="511833" y="276570"/>
                </a:cubicBezTo>
                <a:cubicBezTo>
                  <a:pt x="524068" y="276570"/>
                  <a:pt x="534144" y="286646"/>
                  <a:pt x="534144" y="298881"/>
                </a:cubicBezTo>
                <a:lnTo>
                  <a:pt x="534144" y="325151"/>
                </a:lnTo>
                <a:cubicBezTo>
                  <a:pt x="599278" y="329829"/>
                  <a:pt x="662613" y="355019"/>
                  <a:pt x="713713" y="399641"/>
                </a:cubicBezTo>
                <a:lnTo>
                  <a:pt x="738183" y="375530"/>
                </a:lnTo>
                <a:lnTo>
                  <a:pt x="738183" y="185526"/>
                </a:lnTo>
                <a:cubicBezTo>
                  <a:pt x="738183" y="179409"/>
                  <a:pt x="740342" y="173651"/>
                  <a:pt x="744660" y="169693"/>
                </a:cubicBezTo>
                <a:lnTo>
                  <a:pt x="894001" y="20712"/>
                </a:lnTo>
                <a:cubicBezTo>
                  <a:pt x="904257" y="10456"/>
                  <a:pt x="916582" y="3889"/>
                  <a:pt x="929672" y="1280"/>
                </a:cubicBezTo>
                <a:close/>
              </a:path>
            </a:pathLst>
          </a:custGeom>
          <a:solidFill>
            <a:srgbClr val="1D428A"/>
          </a:solidFill>
          <a:ln>
            <a:solidFill>
              <a:schemeClr val="bg1"/>
            </a:solidFill>
          </a:ln>
          <a:effectLst/>
        </p:spPr>
        <p:txBody>
          <a:bodyPr wrap="square" anchor="ctr">
            <a:noAutofit/>
          </a:bodyPr>
          <a:lstStyle/>
          <a:p>
            <a:pPr defTabSz="685846"/>
            <a:endParaRPr lang="en-US" sz="1350" dirty="0">
              <a:solidFill>
                <a:srgbClr val="7F7F7F"/>
              </a:solidFill>
              <a:latin typeface="Lato Light" panose="020F0502020204030203" pitchFamily="34" charset="0"/>
            </a:endParaRPr>
          </a:p>
        </p:txBody>
      </p:sp>
    </p:spTree>
    <p:extLst>
      <p:ext uri="{BB962C8B-B14F-4D97-AF65-F5344CB8AC3E}">
        <p14:creationId xmlns:p14="http://schemas.microsoft.com/office/powerpoint/2010/main" val="354998033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z="2000" dirty="0"/>
              <a:t>Our reform direction under the new Student Behaviour Strategy  </a:t>
            </a:r>
          </a:p>
        </p:txBody>
      </p:sp>
      <p:grpSp>
        <p:nvGrpSpPr>
          <p:cNvPr id="3" name="Group 2"/>
          <p:cNvGrpSpPr/>
          <p:nvPr/>
        </p:nvGrpSpPr>
        <p:grpSpPr>
          <a:xfrm>
            <a:off x="514592" y="1400927"/>
            <a:ext cx="8513411" cy="4161302"/>
            <a:chOff x="348133" y="1428549"/>
            <a:chExt cx="8513411" cy="4161302"/>
          </a:xfrm>
        </p:grpSpPr>
        <p:sp>
          <p:nvSpPr>
            <p:cNvPr id="27" name="Shape 21382">
              <a:extLst>
                <a:ext uri="{FF2B5EF4-FFF2-40B4-BE49-F238E27FC236}">
                  <a16:creationId xmlns:a16="http://schemas.microsoft.com/office/drawing/2014/main" id="{13A15005-4CAA-C54B-B0A5-92485B2FA7D2}"/>
                </a:ext>
              </a:extLst>
            </p:cNvPr>
            <p:cNvSpPr/>
            <p:nvPr/>
          </p:nvSpPr>
          <p:spPr>
            <a:xfrm>
              <a:off x="4704748" y="2101194"/>
              <a:ext cx="1096930" cy="1443916"/>
            </a:xfrm>
            <a:custGeom>
              <a:avLst/>
              <a:gdLst/>
              <a:ahLst/>
              <a:cxnLst>
                <a:cxn ang="0">
                  <a:pos x="wd2" y="hd2"/>
                </a:cxn>
                <a:cxn ang="5400000">
                  <a:pos x="wd2" y="hd2"/>
                </a:cxn>
                <a:cxn ang="10800000">
                  <a:pos x="wd2" y="hd2"/>
                </a:cxn>
                <a:cxn ang="16200000">
                  <a:pos x="wd2" y="hd2"/>
                </a:cxn>
              </a:cxnLst>
              <a:rect l="0" t="0" r="r" b="b"/>
              <a:pathLst>
                <a:path w="21600" h="21600" extrusionOk="0">
                  <a:moveTo>
                    <a:pt x="21598" y="7901"/>
                  </a:moveTo>
                  <a:lnTo>
                    <a:pt x="0" y="0"/>
                  </a:lnTo>
                  <a:lnTo>
                    <a:pt x="7101" y="16824"/>
                  </a:lnTo>
                  <a:cubicBezTo>
                    <a:pt x="8552" y="18261"/>
                    <a:pt x="9375" y="19917"/>
                    <a:pt x="9603" y="21600"/>
                  </a:cubicBezTo>
                  <a:lnTo>
                    <a:pt x="21600" y="7909"/>
                  </a:lnTo>
                  <a:cubicBezTo>
                    <a:pt x="21600" y="7909"/>
                    <a:pt x="21598" y="7901"/>
                    <a:pt x="21598" y="7901"/>
                  </a:cubicBezTo>
                  <a:close/>
                </a:path>
              </a:pathLst>
            </a:custGeom>
            <a:solidFill>
              <a:srgbClr val="163168"/>
            </a:solidFill>
            <a:ln w="12700" cap="flat">
              <a:noFill/>
              <a:miter lim="400000"/>
            </a:ln>
            <a:effectLst/>
          </p:spPr>
          <p:txBody>
            <a:bodyPr wrap="square" lIns="20097" tIns="20097" rIns="20097" bIns="20097" numCol="1" anchor="ctr">
              <a:noAutofit/>
            </a:bodyP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17" name="Shape 21397">
              <a:extLst>
                <a:ext uri="{FF2B5EF4-FFF2-40B4-BE49-F238E27FC236}">
                  <a16:creationId xmlns:a16="http://schemas.microsoft.com/office/drawing/2014/main" id="{A658F94E-4D88-AB47-8B80-78B1EFCC3328}"/>
                </a:ext>
              </a:extLst>
            </p:cNvPr>
            <p:cNvSpPr/>
            <p:nvPr/>
          </p:nvSpPr>
          <p:spPr>
            <a:xfrm>
              <a:off x="3078442" y="2628024"/>
              <a:ext cx="1280731" cy="1188862"/>
            </a:xfrm>
            <a:custGeom>
              <a:avLst/>
              <a:gdLst/>
              <a:ahLst/>
              <a:cxnLst>
                <a:cxn ang="0">
                  <a:pos x="wd2" y="hd2"/>
                </a:cxn>
                <a:cxn ang="5400000">
                  <a:pos x="wd2" y="hd2"/>
                </a:cxn>
                <a:cxn ang="10800000">
                  <a:pos x="wd2" y="hd2"/>
                </a:cxn>
                <a:cxn ang="16200000">
                  <a:pos x="wd2" y="hd2"/>
                </a:cxn>
              </a:cxnLst>
              <a:rect l="0" t="0" r="r" b="b"/>
              <a:pathLst>
                <a:path w="21600" h="21600" extrusionOk="0">
                  <a:moveTo>
                    <a:pt x="18405" y="8849"/>
                  </a:moveTo>
                  <a:cubicBezTo>
                    <a:pt x="19391" y="8002"/>
                    <a:pt x="20473" y="7376"/>
                    <a:pt x="21600" y="6961"/>
                  </a:cubicBezTo>
                  <a:lnTo>
                    <a:pt x="4584" y="0"/>
                  </a:lnTo>
                  <a:lnTo>
                    <a:pt x="4575" y="4"/>
                  </a:lnTo>
                  <a:lnTo>
                    <a:pt x="0" y="21600"/>
                  </a:lnTo>
                  <a:lnTo>
                    <a:pt x="16379" y="11150"/>
                  </a:lnTo>
                  <a:cubicBezTo>
                    <a:pt x="16940" y="10306"/>
                    <a:pt x="17615" y="9528"/>
                    <a:pt x="18405" y="8849"/>
                  </a:cubicBezTo>
                  <a:close/>
                </a:path>
              </a:pathLst>
            </a:custGeom>
            <a:solidFill>
              <a:srgbClr val="6CACE4"/>
            </a:solidFill>
            <a:ln w="12700" cap="flat">
              <a:noFill/>
              <a:miter lim="400000"/>
            </a:ln>
            <a:effectLst/>
          </p:spPr>
          <p:txBody>
            <a:bodyPr wrap="square" lIns="20097" tIns="20097" rIns="20097" bIns="20097" numCol="1" anchor="ctr">
              <a:noAutofit/>
            </a:bodyP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25" name="Shape 21385">
              <a:extLst>
                <a:ext uri="{FF2B5EF4-FFF2-40B4-BE49-F238E27FC236}">
                  <a16:creationId xmlns:a16="http://schemas.microsoft.com/office/drawing/2014/main" id="{237F9A21-8DE2-6546-B1A6-6753D9FFCD77}"/>
                </a:ext>
              </a:extLst>
            </p:cNvPr>
            <p:cNvSpPr/>
            <p:nvPr/>
          </p:nvSpPr>
          <p:spPr>
            <a:xfrm>
              <a:off x="4510049" y="4071084"/>
              <a:ext cx="1499033" cy="952591"/>
            </a:xfrm>
            <a:custGeom>
              <a:avLst/>
              <a:gdLst/>
              <a:ahLst/>
              <a:cxnLst>
                <a:cxn ang="0">
                  <a:pos x="wd2" y="hd2"/>
                </a:cxn>
                <a:cxn ang="5400000">
                  <a:pos x="wd2" y="hd2"/>
                </a:cxn>
                <a:cxn ang="10800000">
                  <a:pos x="wd2" y="hd2"/>
                </a:cxn>
                <a:cxn ang="16200000">
                  <a:pos x="wd2" y="hd2"/>
                </a:cxn>
              </a:cxnLst>
              <a:rect l="0" t="0" r="r" b="b"/>
              <a:pathLst>
                <a:path w="21600" h="21600" extrusionOk="0">
                  <a:moveTo>
                    <a:pt x="5018" y="2247"/>
                  </a:moveTo>
                  <a:cubicBezTo>
                    <a:pt x="3451" y="3585"/>
                    <a:pt x="1706" y="4136"/>
                    <a:pt x="0" y="3934"/>
                  </a:cubicBezTo>
                  <a:lnTo>
                    <a:pt x="10650" y="21600"/>
                  </a:lnTo>
                  <a:lnTo>
                    <a:pt x="10654" y="21600"/>
                  </a:lnTo>
                  <a:lnTo>
                    <a:pt x="21600" y="0"/>
                  </a:lnTo>
                  <a:cubicBezTo>
                    <a:pt x="21600" y="0"/>
                    <a:pt x="5018" y="2247"/>
                    <a:pt x="5018" y="2247"/>
                  </a:cubicBezTo>
                  <a:close/>
                </a:path>
              </a:pathLst>
            </a:custGeom>
            <a:solidFill>
              <a:schemeClr val="accent2"/>
            </a:solidFill>
            <a:ln w="12700" cap="flat">
              <a:solidFill>
                <a:srgbClr val="407EC9"/>
              </a:solidFill>
              <a:miter lim="400000"/>
            </a:ln>
            <a:effectLst/>
          </p:spPr>
          <p:txBody>
            <a:bodyPr wrap="square" lIns="20097" tIns="20097" rIns="20097" bIns="20097" numCol="1" anchor="ctr">
              <a:noAutofit/>
            </a:bodyP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23" name="Shape 21388">
              <a:extLst>
                <a:ext uri="{FF2B5EF4-FFF2-40B4-BE49-F238E27FC236}">
                  <a16:creationId xmlns:a16="http://schemas.microsoft.com/office/drawing/2014/main" id="{046D8153-E79D-6B4A-96D7-0344781BA6E1}"/>
                </a:ext>
              </a:extLst>
            </p:cNvPr>
            <p:cNvSpPr/>
            <p:nvPr/>
          </p:nvSpPr>
          <p:spPr>
            <a:xfrm>
              <a:off x="3891595" y="3968008"/>
              <a:ext cx="1218243" cy="1052568"/>
            </a:xfrm>
            <a:custGeom>
              <a:avLst/>
              <a:gdLst/>
              <a:ahLst/>
              <a:cxnLst>
                <a:cxn ang="0">
                  <a:pos x="wd2" y="hd2"/>
                </a:cxn>
                <a:cxn ang="5400000">
                  <a:pos x="wd2" y="hd2"/>
                </a:cxn>
                <a:cxn ang="10800000">
                  <a:pos x="wd2" y="hd2"/>
                </a:cxn>
                <a:cxn ang="16200000">
                  <a:pos x="wd2" y="hd2"/>
                </a:cxn>
              </a:cxnLst>
              <a:rect l="0" t="0" r="r" b="b"/>
              <a:pathLst>
                <a:path w="21600" h="21600" extrusionOk="0">
                  <a:moveTo>
                    <a:pt x="3089" y="766"/>
                  </a:moveTo>
                  <a:cubicBezTo>
                    <a:pt x="2916" y="516"/>
                    <a:pt x="2756" y="260"/>
                    <a:pt x="2602" y="0"/>
                  </a:cubicBezTo>
                  <a:lnTo>
                    <a:pt x="0" y="21600"/>
                  </a:lnTo>
                  <a:lnTo>
                    <a:pt x="21600" y="21600"/>
                  </a:lnTo>
                  <a:lnTo>
                    <a:pt x="7810" y="4777"/>
                  </a:lnTo>
                  <a:cubicBezTo>
                    <a:pt x="6016" y="3976"/>
                    <a:pt x="4375" y="2633"/>
                    <a:pt x="3089" y="766"/>
                  </a:cubicBezTo>
                  <a:close/>
                </a:path>
              </a:pathLst>
            </a:custGeom>
            <a:solidFill>
              <a:srgbClr val="6CACE4"/>
            </a:solidFill>
            <a:ln w="12700" cap="flat">
              <a:noFill/>
              <a:miter lim="400000"/>
            </a:ln>
            <a:effectLst/>
          </p:spPr>
          <p:txBody>
            <a:bodyPr wrap="square" lIns="20097" tIns="20097" rIns="20097" bIns="20097" numCol="1" anchor="ctr">
              <a:noAutofit/>
            </a:bodyP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21" name="Shape 21391">
              <a:extLst>
                <a:ext uri="{FF2B5EF4-FFF2-40B4-BE49-F238E27FC236}">
                  <a16:creationId xmlns:a16="http://schemas.microsoft.com/office/drawing/2014/main" id="{118C1F0F-4DA6-0246-9E16-70ED209A1F91}"/>
                </a:ext>
              </a:extLst>
            </p:cNvPr>
            <p:cNvSpPr/>
            <p:nvPr/>
          </p:nvSpPr>
          <p:spPr>
            <a:xfrm>
              <a:off x="5013975" y="2776912"/>
              <a:ext cx="1085942" cy="1281266"/>
            </a:xfrm>
            <a:custGeom>
              <a:avLst/>
              <a:gdLst/>
              <a:ahLst/>
              <a:cxnLst>
                <a:cxn ang="0">
                  <a:pos x="wd2" y="hd2"/>
                </a:cxn>
                <a:cxn ang="5400000">
                  <a:pos x="wd2" y="hd2"/>
                </a:cxn>
                <a:cxn ang="10800000">
                  <a:pos x="wd2" y="hd2"/>
                </a:cxn>
                <a:cxn ang="16200000">
                  <a:pos x="wd2" y="hd2"/>
                </a:cxn>
              </a:cxnLst>
              <a:rect l="0" t="0" r="r" b="b"/>
              <a:pathLst>
                <a:path w="21600" h="21600" extrusionOk="0">
                  <a:moveTo>
                    <a:pt x="16209" y="0"/>
                  </a:moveTo>
                  <a:lnTo>
                    <a:pt x="3220" y="16537"/>
                  </a:lnTo>
                  <a:cubicBezTo>
                    <a:pt x="2727" y="18399"/>
                    <a:pt x="1645" y="20160"/>
                    <a:pt x="0" y="21600"/>
                  </a:cubicBezTo>
                  <a:lnTo>
                    <a:pt x="21597" y="20024"/>
                  </a:lnTo>
                  <a:lnTo>
                    <a:pt x="21600" y="20021"/>
                  </a:lnTo>
                  <a:cubicBezTo>
                    <a:pt x="21600" y="20021"/>
                    <a:pt x="16209" y="0"/>
                    <a:pt x="16209" y="0"/>
                  </a:cubicBezTo>
                  <a:close/>
                </a:path>
              </a:pathLst>
            </a:custGeom>
            <a:solidFill>
              <a:schemeClr val="accent2">
                <a:lumMod val="75000"/>
              </a:schemeClr>
            </a:solidFill>
            <a:ln w="12700" cap="flat">
              <a:solidFill>
                <a:srgbClr val="2C5E9B"/>
              </a:solidFill>
              <a:miter lim="400000"/>
            </a:ln>
            <a:effectLst/>
          </p:spPr>
          <p:txBody>
            <a:bodyPr wrap="square" lIns="20097" tIns="20097" rIns="20097" bIns="20097" numCol="1" anchor="ctr">
              <a:noAutofit/>
            </a:bodyP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19" name="Shape 21394">
              <a:extLst>
                <a:ext uri="{FF2B5EF4-FFF2-40B4-BE49-F238E27FC236}">
                  <a16:creationId xmlns:a16="http://schemas.microsoft.com/office/drawing/2014/main" id="{8200DCDF-E0C8-D74F-8D3E-FA9E163A1891}"/>
                </a:ext>
              </a:extLst>
            </p:cNvPr>
            <p:cNvSpPr/>
            <p:nvPr/>
          </p:nvSpPr>
          <p:spPr>
            <a:xfrm>
              <a:off x="3044083" y="3418272"/>
              <a:ext cx="915922" cy="149503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7837"/>
                  </a:lnTo>
                  <a:lnTo>
                    <a:pt x="17915" y="21600"/>
                  </a:lnTo>
                  <a:lnTo>
                    <a:pt x="21557" y="5597"/>
                  </a:lnTo>
                  <a:cubicBezTo>
                    <a:pt x="20611" y="3764"/>
                    <a:pt x="20641" y="1802"/>
                    <a:pt x="21600" y="0"/>
                  </a:cubicBezTo>
                  <a:close/>
                </a:path>
              </a:pathLst>
            </a:custGeom>
            <a:solidFill>
              <a:srgbClr val="2784D5"/>
            </a:solidFill>
            <a:ln w="12700" cap="flat">
              <a:noFill/>
              <a:miter lim="400000"/>
            </a:ln>
            <a:effectLst/>
          </p:spPr>
          <p:txBody>
            <a:bodyPr wrap="square" lIns="20097" tIns="20097" rIns="20097" bIns="20097" numCol="1" anchor="ctr">
              <a:noAutofit/>
            </a:bodyPr>
            <a:lstStyle/>
            <a:p>
              <a:pPr marL="0" marR="0" lvl="0" indent="0" algn="l" defTabSz="685846"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83"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Lato Light" panose="020F0502020204030203" pitchFamily="34" charset="0"/>
                <a:ea typeface="Lato Light" panose="020F0502020204030203" pitchFamily="34" charset="0"/>
                <a:cs typeface="Lato Light" panose="020F0502020204030203" pitchFamily="34" charset="0"/>
                <a:sym typeface="Gill Sans"/>
              </a:endParaRPr>
            </a:p>
          </p:txBody>
        </p:sp>
        <p:sp>
          <p:nvSpPr>
            <p:cNvPr id="15" name="Shape 21400">
              <a:extLst>
                <a:ext uri="{FF2B5EF4-FFF2-40B4-BE49-F238E27FC236}">
                  <a16:creationId xmlns:a16="http://schemas.microsoft.com/office/drawing/2014/main" id="{F0895056-8CCA-1C42-AE1E-5FB260ABD11A}"/>
                </a:ext>
              </a:extLst>
            </p:cNvPr>
            <p:cNvSpPr/>
            <p:nvPr/>
          </p:nvSpPr>
          <p:spPr>
            <a:xfrm>
              <a:off x="3467839" y="2043929"/>
              <a:ext cx="1432883" cy="104308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6561" y="11"/>
                  </a:lnTo>
                  <a:lnTo>
                    <a:pt x="16544" y="0"/>
                  </a:lnTo>
                  <a:lnTo>
                    <a:pt x="0" y="10944"/>
                  </a:lnTo>
                  <a:lnTo>
                    <a:pt x="16310" y="19452"/>
                  </a:lnTo>
                  <a:cubicBezTo>
                    <a:pt x="18166" y="19439"/>
                    <a:pt x="20014" y="20168"/>
                    <a:pt x="21600" y="21600"/>
                  </a:cubicBezTo>
                  <a:close/>
                </a:path>
              </a:pathLst>
            </a:custGeom>
            <a:solidFill>
              <a:srgbClr val="1D428A"/>
            </a:solidFill>
            <a:ln w="12700" cap="flat">
              <a:noFill/>
              <a:miter lim="400000"/>
            </a:ln>
            <a:effectLst/>
          </p:spPr>
          <p:txBody>
            <a:bodyPr wrap="square" lIns="20097" tIns="20097" rIns="20097" bIns="20097" numCol="1" anchor="ctr">
              <a:noAutofit/>
            </a:bodyP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46" name="TextBox 45">
              <a:extLst>
                <a:ext uri="{FF2B5EF4-FFF2-40B4-BE49-F238E27FC236}">
                  <a16:creationId xmlns:a16="http://schemas.microsoft.com/office/drawing/2014/main" id="{EEC4348F-6AA8-E146-84AE-088F12E61F13}"/>
                </a:ext>
              </a:extLst>
            </p:cNvPr>
            <p:cNvSpPr txBox="1"/>
            <p:nvPr/>
          </p:nvSpPr>
          <p:spPr>
            <a:xfrm>
              <a:off x="487434" y="3631012"/>
              <a:ext cx="2451915" cy="1061829"/>
            </a:xfrm>
            <a:prstGeom prst="rect">
              <a:avLst/>
            </a:prstGeom>
            <a:noFill/>
          </p:spPr>
          <p:txBody>
            <a:bodyPr wrap="square" rtlCol="0" anchor="t">
              <a:spAutoFit/>
            </a:bodyPr>
            <a:lstStyle/>
            <a:p>
              <a:pPr marL="0" marR="0" lvl="1" indent="0" algn="ctr" defTabSz="685846"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We will continue to monitor changes to ensure that students are at school and engaged in learning. We will evaluate the quality and effectiveness of our supports and make adjustments as necessary to improve student outcomes. </a:t>
              </a:r>
            </a:p>
          </p:txBody>
        </p:sp>
        <p:sp>
          <p:nvSpPr>
            <p:cNvPr id="47" name="TextBox 46">
              <a:extLst>
                <a:ext uri="{FF2B5EF4-FFF2-40B4-BE49-F238E27FC236}">
                  <a16:creationId xmlns:a16="http://schemas.microsoft.com/office/drawing/2014/main" id="{4BCB84B3-EABF-7B49-AB53-F01A52677848}"/>
                </a:ext>
              </a:extLst>
            </p:cNvPr>
            <p:cNvSpPr txBox="1"/>
            <p:nvPr/>
          </p:nvSpPr>
          <p:spPr>
            <a:xfrm>
              <a:off x="348133" y="3106924"/>
              <a:ext cx="2943310" cy="415498"/>
            </a:xfrm>
            <a:prstGeom prst="rect">
              <a:avLst/>
            </a:prstGeom>
            <a:noFill/>
          </p:spPr>
          <p:txBody>
            <a:bodyPr wrap="square" rtlCol="0" anchor="ctr">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C5E9B"/>
                  </a:solidFill>
                  <a:effectLst/>
                  <a:uLnTx/>
                  <a:uFillTx/>
                  <a:latin typeface="Montserrat Medium"/>
                  <a:ea typeface="+mn-ea"/>
                  <a:cs typeface="Poppins" pitchFamily="2" charset="77"/>
                </a:rPr>
                <a:t>Monitoring changes, adjust supports and evaluate impacts </a:t>
              </a:r>
            </a:p>
          </p:txBody>
        </p:sp>
        <p:sp>
          <p:nvSpPr>
            <p:cNvPr id="49" name="TextBox 48">
              <a:extLst>
                <a:ext uri="{FF2B5EF4-FFF2-40B4-BE49-F238E27FC236}">
                  <a16:creationId xmlns:a16="http://schemas.microsoft.com/office/drawing/2014/main" id="{7D039300-7312-014E-A21F-FAD79C1CE82A}"/>
                </a:ext>
              </a:extLst>
            </p:cNvPr>
            <p:cNvSpPr txBox="1"/>
            <p:nvPr/>
          </p:nvSpPr>
          <p:spPr>
            <a:xfrm>
              <a:off x="581509" y="1872146"/>
              <a:ext cx="2709936" cy="923330"/>
            </a:xfrm>
            <a:prstGeom prst="rect">
              <a:avLst/>
            </a:prstGeom>
            <a:noFill/>
          </p:spPr>
          <p:txBody>
            <a:bodyPr wrap="square" rtlCol="0" anchor="t">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We will continue to work with students, care-givers, parents, teachers, school leaders as well as other stakeholders to improve support for students and build inter-Agency partnerships to strengthen our living strategy. </a:t>
              </a:r>
            </a:p>
          </p:txBody>
        </p:sp>
        <p:sp>
          <p:nvSpPr>
            <p:cNvPr id="50" name="TextBox 49">
              <a:extLst>
                <a:ext uri="{FF2B5EF4-FFF2-40B4-BE49-F238E27FC236}">
                  <a16:creationId xmlns:a16="http://schemas.microsoft.com/office/drawing/2014/main" id="{8D3C8CD0-1066-9345-A493-6680D0371BF4}"/>
                </a:ext>
              </a:extLst>
            </p:cNvPr>
            <p:cNvSpPr txBox="1"/>
            <p:nvPr/>
          </p:nvSpPr>
          <p:spPr>
            <a:xfrm>
              <a:off x="574518" y="1428549"/>
              <a:ext cx="3226677" cy="400110"/>
            </a:xfrm>
            <a:prstGeom prst="rect">
              <a:avLst/>
            </a:prstGeom>
            <a:noFill/>
          </p:spPr>
          <p:txBody>
            <a:bodyPr wrap="square" rtlCol="0" anchor="ctr">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7EC9"/>
                  </a:solidFill>
                  <a:effectLst/>
                  <a:uLnTx/>
                  <a:uFillTx/>
                  <a:latin typeface="Montserrat Medium"/>
                  <a:ea typeface="+mn-ea"/>
                  <a:cs typeface="Poppins" pitchFamily="2" charset="77"/>
                </a:rPr>
                <a:t>Working with stakeholders to strengthen our living strategy</a:t>
              </a:r>
            </a:p>
          </p:txBody>
        </p:sp>
        <p:sp>
          <p:nvSpPr>
            <p:cNvPr id="53" name="TextBox 52">
              <a:extLst>
                <a:ext uri="{FF2B5EF4-FFF2-40B4-BE49-F238E27FC236}">
                  <a16:creationId xmlns:a16="http://schemas.microsoft.com/office/drawing/2014/main" id="{3C525A95-E3FC-A64A-A1C0-26016B562A64}"/>
                </a:ext>
              </a:extLst>
            </p:cNvPr>
            <p:cNvSpPr txBox="1"/>
            <p:nvPr/>
          </p:nvSpPr>
          <p:spPr>
            <a:xfrm>
              <a:off x="5306401" y="1717884"/>
              <a:ext cx="3555143" cy="230832"/>
            </a:xfrm>
            <a:prstGeom prst="rect">
              <a:avLst/>
            </a:prstGeom>
            <a:noFill/>
          </p:spPr>
          <p:txBody>
            <a:bodyPr wrap="square" rtlCol="0" anchor="t">
              <a:sp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endParaRPr>
            </a:p>
          </p:txBody>
        </p:sp>
        <p:sp>
          <p:nvSpPr>
            <p:cNvPr id="56" name="TextBox 55">
              <a:extLst>
                <a:ext uri="{FF2B5EF4-FFF2-40B4-BE49-F238E27FC236}">
                  <a16:creationId xmlns:a16="http://schemas.microsoft.com/office/drawing/2014/main" id="{38ADAAE4-C3C3-464D-A05F-E5727080ADD9}"/>
                </a:ext>
              </a:extLst>
            </p:cNvPr>
            <p:cNvSpPr txBox="1"/>
            <p:nvPr/>
          </p:nvSpPr>
          <p:spPr>
            <a:xfrm>
              <a:off x="6158167" y="3626117"/>
              <a:ext cx="2572382" cy="1477328"/>
            </a:xfrm>
            <a:prstGeom prst="rect">
              <a:avLst/>
            </a:prstGeom>
            <a:noFill/>
          </p:spPr>
          <p:txBody>
            <a:bodyPr wrap="square" rtlCol="0" anchor="t">
              <a:sp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We will provide targeted support to</a:t>
              </a:r>
            </a:p>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vulnerable student cohorts through evidence-based interventions and</a:t>
              </a:r>
            </a:p>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a dedicated expert workforce.</a:t>
              </a:r>
            </a:p>
            <a:p>
              <a:pPr marL="0" marR="0" lvl="0" indent="0" algn="ctr" defTabSz="457173"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endParaRPr>
            </a:p>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We will continue to support the NSW Premier’s Priorities to lift educational standards and increase Aboriginal student educational attainment. </a:t>
              </a:r>
            </a:p>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endParaRPr>
            </a:p>
          </p:txBody>
        </p:sp>
        <p:sp>
          <p:nvSpPr>
            <p:cNvPr id="57" name="TextBox 56">
              <a:extLst>
                <a:ext uri="{FF2B5EF4-FFF2-40B4-BE49-F238E27FC236}">
                  <a16:creationId xmlns:a16="http://schemas.microsoft.com/office/drawing/2014/main" id="{097823D9-70E8-3A44-B73A-06E414F84F7D}"/>
                </a:ext>
              </a:extLst>
            </p:cNvPr>
            <p:cNvSpPr txBox="1"/>
            <p:nvPr/>
          </p:nvSpPr>
          <p:spPr>
            <a:xfrm>
              <a:off x="6322422" y="3119845"/>
              <a:ext cx="2318788" cy="400110"/>
            </a:xfrm>
            <a:prstGeom prst="rect">
              <a:avLst/>
            </a:prstGeom>
            <a:noFill/>
          </p:spPr>
          <p:txBody>
            <a:bodyPr wrap="square" rtlCol="0" anchor="ctr">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CACE4"/>
                  </a:solidFill>
                  <a:effectLst/>
                  <a:uLnTx/>
                  <a:uFillTx/>
                  <a:latin typeface="Montserrat Medium"/>
                  <a:ea typeface="+mn-ea"/>
                  <a:cs typeface="Poppins" pitchFamily="2" charset="77"/>
                </a:rPr>
                <a:t>Supporting vulnerable students with an expert workforce</a:t>
              </a:r>
            </a:p>
          </p:txBody>
        </p:sp>
        <p:sp>
          <p:nvSpPr>
            <p:cNvPr id="60" name="TextBox 59">
              <a:extLst>
                <a:ext uri="{FF2B5EF4-FFF2-40B4-BE49-F238E27FC236}">
                  <a16:creationId xmlns:a16="http://schemas.microsoft.com/office/drawing/2014/main" id="{F404DC42-98FF-4C48-8447-21A45D90F6AA}"/>
                </a:ext>
              </a:extLst>
            </p:cNvPr>
            <p:cNvSpPr txBox="1"/>
            <p:nvPr/>
          </p:nvSpPr>
          <p:spPr>
            <a:xfrm>
              <a:off x="1094784" y="5189741"/>
              <a:ext cx="2582213" cy="400110"/>
            </a:xfrm>
            <a:prstGeom prst="rect">
              <a:avLst/>
            </a:prstGeom>
            <a:noFill/>
          </p:spPr>
          <p:txBody>
            <a:bodyPr wrap="square" rtlCol="0" anchor="ctr">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784D5"/>
                  </a:solidFill>
                  <a:effectLst/>
                  <a:uLnTx/>
                  <a:uFillTx/>
                  <a:latin typeface="Montserrat Medium"/>
                  <a:ea typeface="+mn-ea"/>
                  <a:cs typeface="Poppins" pitchFamily="2" charset="77"/>
                </a:rPr>
                <a:t>Commissioning services for improved student outcomes </a:t>
              </a:r>
            </a:p>
          </p:txBody>
        </p:sp>
        <p:sp>
          <p:nvSpPr>
            <p:cNvPr id="29" name="TextBox 28">
              <a:extLst>
                <a:ext uri="{FF2B5EF4-FFF2-40B4-BE49-F238E27FC236}">
                  <a16:creationId xmlns:a16="http://schemas.microsoft.com/office/drawing/2014/main" id="{F404DC42-98FF-4C48-8447-21A45D90F6AA}"/>
                </a:ext>
              </a:extLst>
            </p:cNvPr>
            <p:cNvSpPr txBox="1"/>
            <p:nvPr/>
          </p:nvSpPr>
          <p:spPr>
            <a:xfrm>
              <a:off x="3344176" y="5256225"/>
              <a:ext cx="2291594" cy="246221"/>
            </a:xfrm>
            <a:prstGeom prst="rect">
              <a:avLst/>
            </a:prstGeom>
            <a:noFill/>
          </p:spPr>
          <p:txBody>
            <a:bodyPr wrap="square" rtlCol="0" anchor="ctr">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6CACE4"/>
                </a:solidFill>
                <a:effectLst/>
                <a:uLnTx/>
                <a:uFillTx/>
                <a:latin typeface="Montserrat Medium"/>
                <a:ea typeface="+mn-ea"/>
                <a:cs typeface="Poppins" pitchFamily="2" charset="77"/>
              </a:endParaRPr>
            </a:p>
          </p:txBody>
        </p:sp>
        <p:sp>
          <p:nvSpPr>
            <p:cNvPr id="30" name="Freeform 1056">
              <a:extLst>
                <a:ext uri="{FF2B5EF4-FFF2-40B4-BE49-F238E27FC236}">
                  <a16:creationId xmlns:a16="http://schemas.microsoft.com/office/drawing/2014/main" id="{32D43F84-13C3-8D4B-B6CC-AB5C05834788}"/>
                </a:ext>
              </a:extLst>
            </p:cNvPr>
            <p:cNvSpPr>
              <a:spLocks noChangeAspect="1" noChangeArrowheads="1"/>
            </p:cNvSpPr>
            <p:nvPr/>
          </p:nvSpPr>
          <p:spPr bwMode="auto">
            <a:xfrm>
              <a:off x="3501204" y="2978477"/>
              <a:ext cx="294198" cy="295814"/>
            </a:xfrm>
            <a:custGeom>
              <a:avLst/>
              <a:gdLst/>
              <a:ahLst/>
              <a:cxnLst/>
              <a:rect l="0" t="0" r="r" b="b"/>
              <a:pathLst>
                <a:path w="288521" h="290096">
                  <a:moveTo>
                    <a:pt x="234373" y="240961"/>
                  </a:moveTo>
                  <a:cubicBezTo>
                    <a:pt x="235989" y="242627"/>
                    <a:pt x="236393" y="245542"/>
                    <a:pt x="234777" y="247624"/>
                  </a:cubicBezTo>
                  <a:cubicBezTo>
                    <a:pt x="232352" y="250538"/>
                    <a:pt x="230736" y="254286"/>
                    <a:pt x="230736" y="258450"/>
                  </a:cubicBezTo>
                  <a:lnTo>
                    <a:pt x="230736" y="281352"/>
                  </a:lnTo>
                  <a:lnTo>
                    <a:pt x="279631" y="281352"/>
                  </a:lnTo>
                  <a:lnTo>
                    <a:pt x="279631" y="258450"/>
                  </a:lnTo>
                  <a:cubicBezTo>
                    <a:pt x="279631" y="254286"/>
                    <a:pt x="278419" y="250538"/>
                    <a:pt x="275590" y="247624"/>
                  </a:cubicBezTo>
                  <a:cubicBezTo>
                    <a:pt x="274378" y="245542"/>
                    <a:pt x="274378" y="242627"/>
                    <a:pt x="276398" y="240961"/>
                  </a:cubicBezTo>
                  <a:cubicBezTo>
                    <a:pt x="278419" y="239712"/>
                    <a:pt x="280843" y="239712"/>
                    <a:pt x="282460" y="241794"/>
                  </a:cubicBezTo>
                  <a:cubicBezTo>
                    <a:pt x="286096" y="246375"/>
                    <a:pt x="288521" y="252204"/>
                    <a:pt x="288521" y="258450"/>
                  </a:cubicBezTo>
                  <a:lnTo>
                    <a:pt x="288521" y="285932"/>
                  </a:lnTo>
                  <a:cubicBezTo>
                    <a:pt x="288521" y="288430"/>
                    <a:pt x="286501" y="290096"/>
                    <a:pt x="284076" y="290096"/>
                  </a:cubicBezTo>
                  <a:lnTo>
                    <a:pt x="226695" y="290096"/>
                  </a:lnTo>
                  <a:cubicBezTo>
                    <a:pt x="224271" y="290096"/>
                    <a:pt x="222250" y="288430"/>
                    <a:pt x="222250" y="285932"/>
                  </a:cubicBezTo>
                  <a:lnTo>
                    <a:pt x="222250" y="258450"/>
                  </a:lnTo>
                  <a:cubicBezTo>
                    <a:pt x="222250" y="252204"/>
                    <a:pt x="224271" y="246375"/>
                    <a:pt x="228311" y="241794"/>
                  </a:cubicBezTo>
                  <a:cubicBezTo>
                    <a:pt x="229524" y="239712"/>
                    <a:pt x="232352" y="239712"/>
                    <a:pt x="234373" y="240961"/>
                  </a:cubicBezTo>
                  <a:close/>
                  <a:moveTo>
                    <a:pt x="96132" y="239712"/>
                  </a:moveTo>
                  <a:lnTo>
                    <a:pt x="124125" y="239712"/>
                  </a:lnTo>
                  <a:cubicBezTo>
                    <a:pt x="126560" y="239712"/>
                    <a:pt x="128182" y="241877"/>
                    <a:pt x="128182" y="244475"/>
                  </a:cubicBezTo>
                  <a:cubicBezTo>
                    <a:pt x="128182" y="246640"/>
                    <a:pt x="126560" y="248804"/>
                    <a:pt x="124125" y="248804"/>
                  </a:cubicBezTo>
                  <a:lnTo>
                    <a:pt x="96132" y="248804"/>
                  </a:lnTo>
                  <a:cubicBezTo>
                    <a:pt x="93698" y="248804"/>
                    <a:pt x="92075" y="246640"/>
                    <a:pt x="92075" y="244475"/>
                  </a:cubicBezTo>
                  <a:cubicBezTo>
                    <a:pt x="92075" y="241877"/>
                    <a:pt x="93698" y="239712"/>
                    <a:pt x="96132" y="239712"/>
                  </a:cubicBezTo>
                  <a:close/>
                  <a:moveTo>
                    <a:pt x="37516" y="239712"/>
                  </a:moveTo>
                  <a:lnTo>
                    <a:pt x="68012" y="239712"/>
                  </a:lnTo>
                  <a:cubicBezTo>
                    <a:pt x="70519" y="239712"/>
                    <a:pt x="72607" y="241877"/>
                    <a:pt x="72607" y="244475"/>
                  </a:cubicBezTo>
                  <a:cubicBezTo>
                    <a:pt x="72607" y="246640"/>
                    <a:pt x="70519" y="248804"/>
                    <a:pt x="68012" y="248804"/>
                  </a:cubicBezTo>
                  <a:lnTo>
                    <a:pt x="37516" y="248804"/>
                  </a:lnTo>
                  <a:cubicBezTo>
                    <a:pt x="35009" y="248804"/>
                    <a:pt x="33338" y="246640"/>
                    <a:pt x="33338" y="244475"/>
                  </a:cubicBezTo>
                  <a:cubicBezTo>
                    <a:pt x="33338" y="241877"/>
                    <a:pt x="35009" y="239712"/>
                    <a:pt x="37516" y="239712"/>
                  </a:cubicBezTo>
                  <a:close/>
                  <a:moveTo>
                    <a:pt x="256970" y="213800"/>
                  </a:moveTo>
                  <a:cubicBezTo>
                    <a:pt x="251235" y="213800"/>
                    <a:pt x="246728" y="218306"/>
                    <a:pt x="246728" y="223632"/>
                  </a:cubicBezTo>
                  <a:cubicBezTo>
                    <a:pt x="246728" y="229367"/>
                    <a:pt x="251235" y="233874"/>
                    <a:pt x="256970" y="233874"/>
                  </a:cubicBezTo>
                  <a:cubicBezTo>
                    <a:pt x="262296" y="233874"/>
                    <a:pt x="266802" y="229367"/>
                    <a:pt x="266802" y="223632"/>
                  </a:cubicBezTo>
                  <a:cubicBezTo>
                    <a:pt x="266802" y="218306"/>
                    <a:pt x="262296" y="213800"/>
                    <a:pt x="256970" y="213800"/>
                  </a:cubicBezTo>
                  <a:close/>
                  <a:moveTo>
                    <a:pt x="256970" y="204787"/>
                  </a:moveTo>
                  <a:cubicBezTo>
                    <a:pt x="267212" y="204787"/>
                    <a:pt x="275815" y="213390"/>
                    <a:pt x="275815" y="223632"/>
                  </a:cubicBezTo>
                  <a:cubicBezTo>
                    <a:pt x="275815" y="233874"/>
                    <a:pt x="267212" y="242478"/>
                    <a:pt x="256970" y="242478"/>
                  </a:cubicBezTo>
                  <a:cubicBezTo>
                    <a:pt x="246728" y="242478"/>
                    <a:pt x="238125" y="233874"/>
                    <a:pt x="238125" y="223632"/>
                  </a:cubicBezTo>
                  <a:cubicBezTo>
                    <a:pt x="238125" y="213390"/>
                    <a:pt x="246728" y="204787"/>
                    <a:pt x="256970" y="204787"/>
                  </a:cubicBezTo>
                  <a:close/>
                  <a:moveTo>
                    <a:pt x="118707" y="200025"/>
                  </a:moveTo>
                  <a:lnTo>
                    <a:pt x="152757" y="200025"/>
                  </a:lnTo>
                  <a:cubicBezTo>
                    <a:pt x="155160" y="200025"/>
                    <a:pt x="156762" y="201757"/>
                    <a:pt x="156762" y="204354"/>
                  </a:cubicBezTo>
                  <a:cubicBezTo>
                    <a:pt x="156762" y="206952"/>
                    <a:pt x="155160" y="209117"/>
                    <a:pt x="152757" y="209117"/>
                  </a:cubicBezTo>
                  <a:lnTo>
                    <a:pt x="118707" y="209117"/>
                  </a:lnTo>
                  <a:cubicBezTo>
                    <a:pt x="116303" y="209117"/>
                    <a:pt x="114300" y="206952"/>
                    <a:pt x="114300" y="204354"/>
                  </a:cubicBezTo>
                  <a:cubicBezTo>
                    <a:pt x="114300" y="201757"/>
                    <a:pt x="116303" y="200025"/>
                    <a:pt x="118707" y="200025"/>
                  </a:cubicBezTo>
                  <a:close/>
                  <a:moveTo>
                    <a:pt x="37493" y="200025"/>
                  </a:moveTo>
                  <a:lnTo>
                    <a:pt x="90679" y="200025"/>
                  </a:lnTo>
                  <a:cubicBezTo>
                    <a:pt x="93172" y="200025"/>
                    <a:pt x="94835" y="201757"/>
                    <a:pt x="94835" y="204354"/>
                  </a:cubicBezTo>
                  <a:cubicBezTo>
                    <a:pt x="94835" y="206952"/>
                    <a:pt x="93172" y="209117"/>
                    <a:pt x="90679" y="209117"/>
                  </a:cubicBezTo>
                  <a:lnTo>
                    <a:pt x="37493" y="209117"/>
                  </a:lnTo>
                  <a:cubicBezTo>
                    <a:pt x="35000" y="209117"/>
                    <a:pt x="33338" y="206952"/>
                    <a:pt x="33338" y="204354"/>
                  </a:cubicBezTo>
                  <a:cubicBezTo>
                    <a:pt x="33338" y="201757"/>
                    <a:pt x="35000" y="200025"/>
                    <a:pt x="37493" y="200025"/>
                  </a:cubicBezTo>
                  <a:close/>
                  <a:moveTo>
                    <a:pt x="8672" y="166330"/>
                  </a:moveTo>
                  <a:lnTo>
                    <a:pt x="8672" y="281344"/>
                  </a:lnTo>
                  <a:lnTo>
                    <a:pt x="171368" y="281344"/>
                  </a:lnTo>
                  <a:lnTo>
                    <a:pt x="203990" y="223837"/>
                  </a:lnTo>
                  <a:lnTo>
                    <a:pt x="171368" y="166330"/>
                  </a:lnTo>
                  <a:lnTo>
                    <a:pt x="8672" y="166330"/>
                  </a:lnTo>
                  <a:close/>
                  <a:moveTo>
                    <a:pt x="4542" y="157162"/>
                  </a:moveTo>
                  <a:lnTo>
                    <a:pt x="173845" y="157162"/>
                  </a:lnTo>
                  <a:cubicBezTo>
                    <a:pt x="175497" y="157162"/>
                    <a:pt x="177149" y="158412"/>
                    <a:pt x="177975" y="159662"/>
                  </a:cubicBezTo>
                  <a:lnTo>
                    <a:pt x="213074" y="221753"/>
                  </a:lnTo>
                  <a:cubicBezTo>
                    <a:pt x="213900" y="223003"/>
                    <a:pt x="213900" y="224670"/>
                    <a:pt x="213074" y="226337"/>
                  </a:cubicBezTo>
                  <a:lnTo>
                    <a:pt x="177975" y="288012"/>
                  </a:lnTo>
                  <a:cubicBezTo>
                    <a:pt x="177149" y="289679"/>
                    <a:pt x="175497" y="290096"/>
                    <a:pt x="173845" y="290096"/>
                  </a:cubicBezTo>
                  <a:lnTo>
                    <a:pt x="4542" y="290096"/>
                  </a:lnTo>
                  <a:cubicBezTo>
                    <a:pt x="2065" y="290096"/>
                    <a:pt x="0" y="288429"/>
                    <a:pt x="0" y="285928"/>
                  </a:cubicBezTo>
                  <a:lnTo>
                    <a:pt x="0" y="161746"/>
                  </a:lnTo>
                  <a:cubicBezTo>
                    <a:pt x="0" y="159245"/>
                    <a:pt x="2065" y="157162"/>
                    <a:pt x="4542" y="157162"/>
                  </a:cubicBezTo>
                  <a:close/>
                  <a:moveTo>
                    <a:pt x="142637" y="80962"/>
                  </a:moveTo>
                  <a:lnTo>
                    <a:pt x="224076" y="80962"/>
                  </a:lnTo>
                  <a:cubicBezTo>
                    <a:pt x="226544" y="80962"/>
                    <a:pt x="228189" y="83032"/>
                    <a:pt x="228189" y="85517"/>
                  </a:cubicBezTo>
                  <a:cubicBezTo>
                    <a:pt x="228189" y="88002"/>
                    <a:pt x="226544" y="90073"/>
                    <a:pt x="224076" y="90073"/>
                  </a:cubicBezTo>
                  <a:lnTo>
                    <a:pt x="142637" y="90073"/>
                  </a:lnTo>
                  <a:cubicBezTo>
                    <a:pt x="140170" y="90073"/>
                    <a:pt x="138113" y="88002"/>
                    <a:pt x="138113" y="85517"/>
                  </a:cubicBezTo>
                  <a:cubicBezTo>
                    <a:pt x="138113" y="83032"/>
                    <a:pt x="140170" y="80962"/>
                    <a:pt x="142637" y="80962"/>
                  </a:cubicBezTo>
                  <a:close/>
                  <a:moveTo>
                    <a:pt x="206140" y="41275"/>
                  </a:moveTo>
                  <a:lnTo>
                    <a:pt x="252648" y="41275"/>
                  </a:lnTo>
                  <a:cubicBezTo>
                    <a:pt x="255117" y="41275"/>
                    <a:pt x="256763" y="43440"/>
                    <a:pt x="256763" y="46037"/>
                  </a:cubicBezTo>
                  <a:cubicBezTo>
                    <a:pt x="256763" y="48635"/>
                    <a:pt x="255117" y="50367"/>
                    <a:pt x="252648" y="50367"/>
                  </a:cubicBezTo>
                  <a:lnTo>
                    <a:pt x="206140" y="50367"/>
                  </a:lnTo>
                  <a:cubicBezTo>
                    <a:pt x="203259" y="50367"/>
                    <a:pt x="201613" y="48635"/>
                    <a:pt x="201613" y="46037"/>
                  </a:cubicBezTo>
                  <a:cubicBezTo>
                    <a:pt x="201613" y="43440"/>
                    <a:pt x="203259" y="41275"/>
                    <a:pt x="206140" y="41275"/>
                  </a:cubicBezTo>
                  <a:close/>
                  <a:moveTo>
                    <a:pt x="142519" y="41275"/>
                  </a:moveTo>
                  <a:lnTo>
                    <a:pt x="176569" y="41275"/>
                  </a:lnTo>
                  <a:cubicBezTo>
                    <a:pt x="178572" y="41275"/>
                    <a:pt x="180574" y="43440"/>
                    <a:pt x="180574" y="46037"/>
                  </a:cubicBezTo>
                  <a:cubicBezTo>
                    <a:pt x="180574" y="48635"/>
                    <a:pt x="178572" y="50367"/>
                    <a:pt x="176569" y="50367"/>
                  </a:cubicBezTo>
                  <a:lnTo>
                    <a:pt x="142519" y="50367"/>
                  </a:lnTo>
                  <a:cubicBezTo>
                    <a:pt x="140116" y="50367"/>
                    <a:pt x="138113" y="48635"/>
                    <a:pt x="138113" y="46037"/>
                  </a:cubicBezTo>
                  <a:cubicBezTo>
                    <a:pt x="138113" y="43440"/>
                    <a:pt x="140116" y="41275"/>
                    <a:pt x="142519" y="41275"/>
                  </a:cubicBezTo>
                  <a:close/>
                  <a:moveTo>
                    <a:pt x="11790" y="36164"/>
                  </a:moveTo>
                  <a:cubicBezTo>
                    <a:pt x="13823" y="37816"/>
                    <a:pt x="13823" y="40294"/>
                    <a:pt x="12603" y="42359"/>
                  </a:cubicBezTo>
                  <a:cubicBezTo>
                    <a:pt x="9757" y="45663"/>
                    <a:pt x="8538" y="49380"/>
                    <a:pt x="8538" y="53510"/>
                  </a:cubicBezTo>
                  <a:lnTo>
                    <a:pt x="8538" y="76639"/>
                  </a:lnTo>
                  <a:lnTo>
                    <a:pt x="57731" y="76639"/>
                  </a:lnTo>
                  <a:lnTo>
                    <a:pt x="57731" y="53510"/>
                  </a:lnTo>
                  <a:cubicBezTo>
                    <a:pt x="57731" y="49380"/>
                    <a:pt x="56105" y="45663"/>
                    <a:pt x="53665" y="42359"/>
                  </a:cubicBezTo>
                  <a:cubicBezTo>
                    <a:pt x="52039" y="40294"/>
                    <a:pt x="52446" y="37816"/>
                    <a:pt x="54478" y="36164"/>
                  </a:cubicBezTo>
                  <a:cubicBezTo>
                    <a:pt x="56105" y="34925"/>
                    <a:pt x="58951" y="35338"/>
                    <a:pt x="60170" y="36990"/>
                  </a:cubicBezTo>
                  <a:cubicBezTo>
                    <a:pt x="64236" y="41533"/>
                    <a:pt x="66269" y="47728"/>
                    <a:pt x="66269" y="53510"/>
                  </a:cubicBezTo>
                  <a:lnTo>
                    <a:pt x="66269" y="80769"/>
                  </a:lnTo>
                  <a:cubicBezTo>
                    <a:pt x="66269" y="83247"/>
                    <a:pt x="64236" y="85312"/>
                    <a:pt x="61796" y="85312"/>
                  </a:cubicBezTo>
                  <a:lnTo>
                    <a:pt x="4472" y="85312"/>
                  </a:lnTo>
                  <a:cubicBezTo>
                    <a:pt x="2033" y="85312"/>
                    <a:pt x="0" y="83247"/>
                    <a:pt x="0" y="80769"/>
                  </a:cubicBezTo>
                  <a:lnTo>
                    <a:pt x="0" y="53510"/>
                  </a:lnTo>
                  <a:cubicBezTo>
                    <a:pt x="0" y="47728"/>
                    <a:pt x="2033" y="41533"/>
                    <a:pt x="5692" y="36990"/>
                  </a:cubicBezTo>
                  <a:cubicBezTo>
                    <a:pt x="7318" y="35338"/>
                    <a:pt x="10164" y="34925"/>
                    <a:pt x="11790" y="36164"/>
                  </a:cubicBezTo>
                  <a:close/>
                  <a:moveTo>
                    <a:pt x="129196" y="8751"/>
                  </a:moveTo>
                  <a:lnTo>
                    <a:pt x="96757" y="66258"/>
                  </a:lnTo>
                  <a:lnTo>
                    <a:pt x="129196" y="124182"/>
                  </a:lnTo>
                  <a:lnTo>
                    <a:pt x="279481" y="124182"/>
                  </a:lnTo>
                  <a:lnTo>
                    <a:pt x="279481" y="8751"/>
                  </a:lnTo>
                  <a:lnTo>
                    <a:pt x="129196" y="8751"/>
                  </a:lnTo>
                  <a:close/>
                  <a:moveTo>
                    <a:pt x="34311" y="8603"/>
                  </a:moveTo>
                  <a:cubicBezTo>
                    <a:pt x="28985" y="8603"/>
                    <a:pt x="24478" y="13109"/>
                    <a:pt x="24478" y="18845"/>
                  </a:cubicBezTo>
                  <a:cubicBezTo>
                    <a:pt x="24478" y="24580"/>
                    <a:pt x="28985" y="29087"/>
                    <a:pt x="34311" y="29087"/>
                  </a:cubicBezTo>
                  <a:cubicBezTo>
                    <a:pt x="40046" y="29087"/>
                    <a:pt x="44552" y="24580"/>
                    <a:pt x="44552" y="18845"/>
                  </a:cubicBezTo>
                  <a:cubicBezTo>
                    <a:pt x="44552" y="13109"/>
                    <a:pt x="40046" y="8603"/>
                    <a:pt x="34311" y="8603"/>
                  </a:cubicBezTo>
                  <a:close/>
                  <a:moveTo>
                    <a:pt x="126732" y="0"/>
                  </a:moveTo>
                  <a:lnTo>
                    <a:pt x="283998" y="0"/>
                  </a:lnTo>
                  <a:cubicBezTo>
                    <a:pt x="286461" y="0"/>
                    <a:pt x="288514" y="2083"/>
                    <a:pt x="288514" y="4584"/>
                  </a:cubicBezTo>
                  <a:lnTo>
                    <a:pt x="288514" y="128349"/>
                  </a:lnTo>
                  <a:cubicBezTo>
                    <a:pt x="288514" y="130849"/>
                    <a:pt x="286461" y="132933"/>
                    <a:pt x="283998" y="132933"/>
                  </a:cubicBezTo>
                  <a:lnTo>
                    <a:pt x="126732" y="132933"/>
                  </a:lnTo>
                  <a:cubicBezTo>
                    <a:pt x="125090" y="132933"/>
                    <a:pt x="123858" y="132100"/>
                    <a:pt x="123037" y="130849"/>
                  </a:cubicBezTo>
                  <a:lnTo>
                    <a:pt x="88134" y="68758"/>
                  </a:lnTo>
                  <a:cubicBezTo>
                    <a:pt x="87313" y="67508"/>
                    <a:pt x="87313" y="65425"/>
                    <a:pt x="88134" y="64174"/>
                  </a:cubicBezTo>
                  <a:lnTo>
                    <a:pt x="123037" y="2083"/>
                  </a:lnTo>
                  <a:cubicBezTo>
                    <a:pt x="123858" y="833"/>
                    <a:pt x="125090" y="0"/>
                    <a:pt x="126732" y="0"/>
                  </a:cubicBezTo>
                  <a:close/>
                  <a:moveTo>
                    <a:pt x="34311" y="0"/>
                  </a:moveTo>
                  <a:cubicBezTo>
                    <a:pt x="44962" y="0"/>
                    <a:pt x="53565" y="8603"/>
                    <a:pt x="53565" y="18845"/>
                  </a:cubicBezTo>
                  <a:cubicBezTo>
                    <a:pt x="53565" y="29497"/>
                    <a:pt x="44962" y="37690"/>
                    <a:pt x="34311" y="37690"/>
                  </a:cubicBezTo>
                  <a:cubicBezTo>
                    <a:pt x="24068" y="37690"/>
                    <a:pt x="15875" y="29497"/>
                    <a:pt x="15875" y="18845"/>
                  </a:cubicBezTo>
                  <a:cubicBezTo>
                    <a:pt x="15875" y="8603"/>
                    <a:pt x="24068" y="0"/>
                    <a:pt x="34311" y="0"/>
                  </a:cubicBezTo>
                  <a:close/>
                </a:path>
              </a:pathLst>
            </a:custGeom>
            <a:solidFill>
              <a:schemeClr val="bg1"/>
            </a:solidFill>
            <a:ln>
              <a:noFill/>
            </a:ln>
            <a:effectLst/>
          </p:spPr>
          <p:txBody>
            <a:bodyPr anchor="ct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737572"/>
                </a:solidFill>
                <a:effectLst/>
                <a:uLnTx/>
                <a:uFillTx/>
                <a:latin typeface="Nunito Sans ExtraLight" pitchFamily="2" charset="77"/>
                <a:ea typeface="+mn-ea"/>
                <a:cs typeface="+mn-cs"/>
              </a:endParaRPr>
            </a:p>
          </p:txBody>
        </p:sp>
      </p:grpSp>
      <p:sp>
        <p:nvSpPr>
          <p:cNvPr id="39" name="Freeform 1064">
            <a:extLst>
              <a:ext uri="{FF2B5EF4-FFF2-40B4-BE49-F238E27FC236}">
                <a16:creationId xmlns:a16="http://schemas.microsoft.com/office/drawing/2014/main" id="{BBDD2C4B-5786-CE47-9018-D5479D96944F}"/>
              </a:ext>
            </a:extLst>
          </p:cNvPr>
          <p:cNvSpPr>
            <a:spLocks noChangeAspect="1" noChangeArrowheads="1"/>
          </p:cNvSpPr>
          <p:nvPr/>
        </p:nvSpPr>
        <p:spPr bwMode="auto">
          <a:xfrm>
            <a:off x="3563538" y="4069616"/>
            <a:ext cx="299017" cy="300633"/>
          </a:xfrm>
          <a:custGeom>
            <a:avLst/>
            <a:gdLst/>
            <a:ahLst/>
            <a:cxnLst/>
            <a:rect l="0" t="0" r="r" b="b"/>
            <a:pathLst>
              <a:path w="294361" h="294862">
                <a:moveTo>
                  <a:pt x="181191" y="200159"/>
                </a:moveTo>
                <a:cubicBezTo>
                  <a:pt x="165085" y="219596"/>
                  <a:pt x="151457" y="232829"/>
                  <a:pt x="150218" y="234070"/>
                </a:cubicBezTo>
                <a:cubicBezTo>
                  <a:pt x="149392" y="234897"/>
                  <a:pt x="148153" y="235310"/>
                  <a:pt x="147327" y="235310"/>
                </a:cubicBezTo>
                <a:cubicBezTo>
                  <a:pt x="146088" y="235310"/>
                  <a:pt x="144849" y="234897"/>
                  <a:pt x="144023" y="234070"/>
                </a:cubicBezTo>
                <a:cubicBezTo>
                  <a:pt x="142785" y="232829"/>
                  <a:pt x="131221" y="221663"/>
                  <a:pt x="116767" y="204708"/>
                </a:cubicBezTo>
                <a:lnTo>
                  <a:pt x="104791" y="284109"/>
                </a:lnTo>
                <a:lnTo>
                  <a:pt x="189450" y="257642"/>
                </a:lnTo>
                <a:lnTo>
                  <a:pt x="181191" y="200159"/>
                </a:lnTo>
                <a:close/>
                <a:moveTo>
                  <a:pt x="145946" y="67511"/>
                </a:moveTo>
                <a:cubicBezTo>
                  <a:pt x="140272" y="67511"/>
                  <a:pt x="135813" y="72524"/>
                  <a:pt x="135813" y="77955"/>
                </a:cubicBezTo>
                <a:cubicBezTo>
                  <a:pt x="135813" y="84221"/>
                  <a:pt x="140272" y="88817"/>
                  <a:pt x="145946" y="88817"/>
                </a:cubicBezTo>
                <a:cubicBezTo>
                  <a:pt x="151215" y="88817"/>
                  <a:pt x="156079" y="84221"/>
                  <a:pt x="156079" y="77955"/>
                </a:cubicBezTo>
                <a:cubicBezTo>
                  <a:pt x="156079" y="72524"/>
                  <a:pt x="151215" y="67511"/>
                  <a:pt x="145946" y="67511"/>
                </a:cubicBezTo>
                <a:close/>
                <a:moveTo>
                  <a:pt x="145946" y="58738"/>
                </a:moveTo>
                <a:cubicBezTo>
                  <a:pt x="156485" y="58738"/>
                  <a:pt x="164591" y="67511"/>
                  <a:pt x="164591" y="77955"/>
                </a:cubicBezTo>
                <a:cubicBezTo>
                  <a:pt x="164591" y="88817"/>
                  <a:pt x="156485" y="98007"/>
                  <a:pt x="145946" y="98007"/>
                </a:cubicBezTo>
                <a:cubicBezTo>
                  <a:pt x="135408" y="98007"/>
                  <a:pt x="126896" y="88817"/>
                  <a:pt x="126896" y="77955"/>
                </a:cubicBezTo>
                <a:cubicBezTo>
                  <a:pt x="126896" y="67511"/>
                  <a:pt x="135408" y="58738"/>
                  <a:pt x="145946" y="58738"/>
                </a:cubicBezTo>
                <a:close/>
                <a:moveTo>
                  <a:pt x="147742" y="40872"/>
                </a:moveTo>
                <a:cubicBezTo>
                  <a:pt x="121937" y="40872"/>
                  <a:pt x="101127" y="61605"/>
                  <a:pt x="101127" y="87313"/>
                </a:cubicBezTo>
                <a:cubicBezTo>
                  <a:pt x="101127" y="100581"/>
                  <a:pt x="106954" y="112606"/>
                  <a:pt x="116110" y="120899"/>
                </a:cubicBezTo>
                <a:lnTo>
                  <a:pt x="116110" y="113435"/>
                </a:lnTo>
                <a:cubicBezTo>
                  <a:pt x="116110" y="107216"/>
                  <a:pt x="118191" y="101411"/>
                  <a:pt x="121521" y="96850"/>
                </a:cubicBezTo>
                <a:cubicBezTo>
                  <a:pt x="122769" y="94776"/>
                  <a:pt x="125683" y="94362"/>
                  <a:pt x="127764" y="95606"/>
                </a:cubicBezTo>
                <a:cubicBezTo>
                  <a:pt x="129845" y="97264"/>
                  <a:pt x="130262" y="99752"/>
                  <a:pt x="129013" y="102240"/>
                </a:cubicBezTo>
                <a:cubicBezTo>
                  <a:pt x="126515" y="105143"/>
                  <a:pt x="125267" y="109289"/>
                  <a:pt x="125267" y="113435"/>
                </a:cubicBezTo>
                <a:lnTo>
                  <a:pt x="125267" y="127533"/>
                </a:lnTo>
                <a:cubicBezTo>
                  <a:pt x="131926" y="131265"/>
                  <a:pt x="139418" y="133338"/>
                  <a:pt x="147742" y="133338"/>
                </a:cubicBezTo>
                <a:cubicBezTo>
                  <a:pt x="155650" y="133338"/>
                  <a:pt x="163141" y="131265"/>
                  <a:pt x="170217" y="127533"/>
                </a:cubicBezTo>
                <a:lnTo>
                  <a:pt x="170217" y="113435"/>
                </a:lnTo>
                <a:cubicBezTo>
                  <a:pt x="170217" y="109289"/>
                  <a:pt x="168552" y="105143"/>
                  <a:pt x="166471" y="102240"/>
                </a:cubicBezTo>
                <a:cubicBezTo>
                  <a:pt x="164806" y="99752"/>
                  <a:pt x="165222" y="97264"/>
                  <a:pt x="167303" y="95606"/>
                </a:cubicBezTo>
                <a:cubicBezTo>
                  <a:pt x="169384" y="94362"/>
                  <a:pt x="171881" y="94776"/>
                  <a:pt x="173546" y="96850"/>
                </a:cubicBezTo>
                <a:cubicBezTo>
                  <a:pt x="176876" y="101411"/>
                  <a:pt x="178957" y="107216"/>
                  <a:pt x="178957" y="113435"/>
                </a:cubicBezTo>
                <a:lnTo>
                  <a:pt x="178957" y="120899"/>
                </a:lnTo>
                <a:cubicBezTo>
                  <a:pt x="188113" y="112606"/>
                  <a:pt x="193940" y="100581"/>
                  <a:pt x="193940" y="87313"/>
                </a:cubicBezTo>
                <a:cubicBezTo>
                  <a:pt x="193940" y="61605"/>
                  <a:pt x="173130" y="40872"/>
                  <a:pt x="147742" y="40872"/>
                </a:cubicBezTo>
                <a:close/>
                <a:moveTo>
                  <a:pt x="147742" y="31750"/>
                </a:moveTo>
                <a:cubicBezTo>
                  <a:pt x="178124" y="31750"/>
                  <a:pt x="202680" y="56628"/>
                  <a:pt x="202680" y="87313"/>
                </a:cubicBezTo>
                <a:cubicBezTo>
                  <a:pt x="202680" y="117582"/>
                  <a:pt x="178124" y="142461"/>
                  <a:pt x="147742" y="142461"/>
                </a:cubicBezTo>
                <a:cubicBezTo>
                  <a:pt x="116943" y="142461"/>
                  <a:pt x="91971" y="117582"/>
                  <a:pt x="91971" y="87313"/>
                </a:cubicBezTo>
                <a:cubicBezTo>
                  <a:pt x="91971" y="56628"/>
                  <a:pt x="116943" y="31750"/>
                  <a:pt x="147742" y="31750"/>
                </a:cubicBezTo>
                <a:close/>
                <a:moveTo>
                  <a:pt x="147327" y="9098"/>
                </a:moveTo>
                <a:cubicBezTo>
                  <a:pt x="104378" y="9098"/>
                  <a:pt x="69688" y="44250"/>
                  <a:pt x="69688" y="86846"/>
                </a:cubicBezTo>
                <a:cubicBezTo>
                  <a:pt x="69688" y="142262"/>
                  <a:pt x="132460" y="209257"/>
                  <a:pt x="147327" y="224558"/>
                </a:cubicBezTo>
                <a:cubicBezTo>
                  <a:pt x="162194" y="209257"/>
                  <a:pt x="224553" y="142262"/>
                  <a:pt x="224553" y="86846"/>
                </a:cubicBezTo>
                <a:cubicBezTo>
                  <a:pt x="224553" y="44250"/>
                  <a:pt x="189863" y="9098"/>
                  <a:pt x="147327" y="9098"/>
                </a:cubicBezTo>
                <a:close/>
                <a:moveTo>
                  <a:pt x="147327" y="0"/>
                </a:moveTo>
                <a:cubicBezTo>
                  <a:pt x="194819" y="0"/>
                  <a:pt x="233638" y="38873"/>
                  <a:pt x="233638" y="86846"/>
                </a:cubicBezTo>
                <a:cubicBezTo>
                  <a:pt x="233638" y="122411"/>
                  <a:pt x="210512" y="161285"/>
                  <a:pt x="188624" y="190233"/>
                </a:cubicBezTo>
                <a:lnTo>
                  <a:pt x="198536" y="257229"/>
                </a:lnTo>
                <a:lnTo>
                  <a:pt x="281543" y="283282"/>
                </a:lnTo>
                <a:lnTo>
                  <a:pt x="232399" y="173278"/>
                </a:lnTo>
                <a:cubicBezTo>
                  <a:pt x="231161" y="170797"/>
                  <a:pt x="232399" y="168315"/>
                  <a:pt x="234464" y="167075"/>
                </a:cubicBezTo>
                <a:cubicBezTo>
                  <a:pt x="236942" y="166248"/>
                  <a:pt x="239420" y="167075"/>
                  <a:pt x="240246" y="169556"/>
                </a:cubicBezTo>
                <a:lnTo>
                  <a:pt x="293932" y="288658"/>
                </a:lnTo>
                <a:cubicBezTo>
                  <a:pt x="294758" y="290313"/>
                  <a:pt x="294345" y="291967"/>
                  <a:pt x="293106" y="293621"/>
                </a:cubicBezTo>
                <a:cubicBezTo>
                  <a:pt x="292280" y="294448"/>
                  <a:pt x="291042" y="294862"/>
                  <a:pt x="289803" y="294862"/>
                </a:cubicBezTo>
                <a:cubicBezTo>
                  <a:pt x="289390" y="294862"/>
                  <a:pt x="288977" y="294862"/>
                  <a:pt x="288564" y="294862"/>
                </a:cubicBezTo>
                <a:lnTo>
                  <a:pt x="194819" y="265500"/>
                </a:lnTo>
                <a:lnTo>
                  <a:pt x="101074" y="294862"/>
                </a:lnTo>
                <a:cubicBezTo>
                  <a:pt x="99835" y="294862"/>
                  <a:pt x="99009" y="294862"/>
                  <a:pt x="97770" y="294862"/>
                </a:cubicBezTo>
                <a:lnTo>
                  <a:pt x="2787" y="258883"/>
                </a:lnTo>
                <a:cubicBezTo>
                  <a:pt x="1548" y="258469"/>
                  <a:pt x="722" y="257642"/>
                  <a:pt x="309" y="256402"/>
                </a:cubicBezTo>
                <a:cubicBezTo>
                  <a:pt x="-104" y="255161"/>
                  <a:pt x="-104" y="253920"/>
                  <a:pt x="309" y="253093"/>
                </a:cubicBezTo>
                <a:lnTo>
                  <a:pt x="46975" y="148878"/>
                </a:lnTo>
                <a:cubicBezTo>
                  <a:pt x="48213" y="146397"/>
                  <a:pt x="50691" y="145156"/>
                  <a:pt x="53169" y="146397"/>
                </a:cubicBezTo>
                <a:cubicBezTo>
                  <a:pt x="55234" y="147638"/>
                  <a:pt x="56060" y="150119"/>
                  <a:pt x="55234" y="152600"/>
                </a:cubicBezTo>
                <a:lnTo>
                  <a:pt x="10220" y="252266"/>
                </a:lnTo>
                <a:lnTo>
                  <a:pt x="96118" y="284109"/>
                </a:lnTo>
                <a:lnTo>
                  <a:pt x="109333" y="195196"/>
                </a:lnTo>
                <a:cubicBezTo>
                  <a:pt x="86207" y="165834"/>
                  <a:pt x="60603" y="124479"/>
                  <a:pt x="60603" y="86846"/>
                </a:cubicBezTo>
                <a:cubicBezTo>
                  <a:pt x="60603" y="38873"/>
                  <a:pt x="99422" y="0"/>
                  <a:pt x="147327" y="0"/>
                </a:cubicBezTo>
                <a:close/>
              </a:path>
            </a:pathLst>
          </a:custGeom>
          <a:solidFill>
            <a:schemeClr val="bg1"/>
          </a:solidFill>
          <a:ln>
            <a:noFill/>
          </a:ln>
          <a:effectLst/>
        </p:spPr>
        <p:txBody>
          <a:bodyPr anchor="ct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737572"/>
              </a:solidFill>
              <a:effectLst/>
              <a:uLnTx/>
              <a:uFillTx/>
              <a:latin typeface="Nunito Sans ExtraLight" pitchFamily="2" charset="77"/>
              <a:ea typeface="+mn-ea"/>
              <a:cs typeface="+mn-cs"/>
            </a:endParaRPr>
          </a:p>
        </p:txBody>
      </p:sp>
      <p:sp>
        <p:nvSpPr>
          <p:cNvPr id="41" name="Freeform 40">
            <a:extLst>
              <a:ext uri="{FF2B5EF4-FFF2-40B4-BE49-F238E27FC236}">
                <a16:creationId xmlns:a16="http://schemas.microsoft.com/office/drawing/2014/main" id="{CDD3F250-AC12-8340-96F4-6315DD3E6706}"/>
              </a:ext>
            </a:extLst>
          </p:cNvPr>
          <p:cNvSpPr>
            <a:spLocks noChangeArrowheads="1"/>
          </p:cNvSpPr>
          <p:nvPr/>
        </p:nvSpPr>
        <p:spPr bwMode="auto">
          <a:xfrm>
            <a:off x="4325008" y="2380594"/>
            <a:ext cx="378372" cy="283778"/>
          </a:xfrm>
          <a:custGeom>
            <a:avLst/>
            <a:gdLst>
              <a:gd name="connsiteX0" fmla="*/ 619798 w 901340"/>
              <a:gd name="connsiteY0" fmla="*/ 730250 h 842602"/>
              <a:gd name="connsiteX1" fmla="*/ 845104 w 901340"/>
              <a:gd name="connsiteY1" fmla="*/ 730250 h 842602"/>
              <a:gd name="connsiteX2" fmla="*/ 901340 w 901340"/>
              <a:gd name="connsiteY2" fmla="*/ 786426 h 842602"/>
              <a:gd name="connsiteX3" fmla="*/ 901340 w 901340"/>
              <a:gd name="connsiteY3" fmla="*/ 842602 h 842602"/>
              <a:gd name="connsiteX4" fmla="*/ 563562 w 901340"/>
              <a:gd name="connsiteY4" fmla="*/ 842602 h 842602"/>
              <a:gd name="connsiteX5" fmla="*/ 563562 w 901340"/>
              <a:gd name="connsiteY5" fmla="*/ 786426 h 842602"/>
              <a:gd name="connsiteX6" fmla="*/ 56536 w 901340"/>
              <a:gd name="connsiteY6" fmla="*/ 730250 h 842602"/>
              <a:gd name="connsiteX7" fmla="*/ 281241 w 901340"/>
              <a:gd name="connsiteY7" fmla="*/ 730250 h 842602"/>
              <a:gd name="connsiteX8" fmla="*/ 337777 w 901340"/>
              <a:gd name="connsiteY8" fmla="*/ 786426 h 842602"/>
              <a:gd name="connsiteX9" fmla="*/ 337777 w 901340"/>
              <a:gd name="connsiteY9" fmla="*/ 842602 h 842602"/>
              <a:gd name="connsiteX10" fmla="*/ 0 w 901340"/>
              <a:gd name="connsiteY10" fmla="*/ 842602 h 842602"/>
              <a:gd name="connsiteX11" fmla="*/ 0 w 901340"/>
              <a:gd name="connsiteY11" fmla="*/ 786426 h 842602"/>
              <a:gd name="connsiteX12" fmla="*/ 318349 w 901340"/>
              <a:gd name="connsiteY12" fmla="*/ 612775 h 842602"/>
              <a:gd name="connsiteX13" fmla="*/ 582992 w 901340"/>
              <a:gd name="connsiteY13" fmla="*/ 612775 h 842602"/>
              <a:gd name="connsiteX14" fmla="*/ 609241 w 901340"/>
              <a:gd name="connsiteY14" fmla="*/ 662402 h 842602"/>
              <a:gd name="connsiteX15" fmla="*/ 450670 w 901340"/>
              <a:gd name="connsiteY15" fmla="*/ 701318 h 842602"/>
              <a:gd name="connsiteX16" fmla="*/ 292100 w 901340"/>
              <a:gd name="connsiteY16" fmla="*/ 662402 h 842602"/>
              <a:gd name="connsiteX17" fmla="*/ 732270 w 901340"/>
              <a:gd name="connsiteY17" fmla="*/ 504825 h 842602"/>
              <a:gd name="connsiteX18" fmla="*/ 817201 w 901340"/>
              <a:gd name="connsiteY18" fmla="*/ 588881 h 842602"/>
              <a:gd name="connsiteX19" fmla="*/ 817201 w 901340"/>
              <a:gd name="connsiteY19" fmla="*/ 616900 h 842602"/>
              <a:gd name="connsiteX20" fmla="*/ 732270 w 901340"/>
              <a:gd name="connsiteY20" fmla="*/ 701316 h 842602"/>
              <a:gd name="connsiteX21" fmla="*/ 647700 w 901340"/>
              <a:gd name="connsiteY21" fmla="*/ 616900 h 842602"/>
              <a:gd name="connsiteX22" fmla="*/ 647700 w 901340"/>
              <a:gd name="connsiteY22" fmla="*/ 588881 h 842602"/>
              <a:gd name="connsiteX23" fmla="*/ 732270 w 901340"/>
              <a:gd name="connsiteY23" fmla="*/ 504825 h 842602"/>
              <a:gd name="connsiteX24" fmla="*/ 168095 w 901340"/>
              <a:gd name="connsiteY24" fmla="*/ 504825 h 842602"/>
              <a:gd name="connsiteX25" fmla="*/ 252053 w 901340"/>
              <a:gd name="connsiteY25" fmla="*/ 588881 h 842602"/>
              <a:gd name="connsiteX26" fmla="*/ 252053 w 901340"/>
              <a:gd name="connsiteY26" fmla="*/ 616900 h 842602"/>
              <a:gd name="connsiteX27" fmla="*/ 168095 w 901340"/>
              <a:gd name="connsiteY27" fmla="*/ 701316 h 842602"/>
              <a:gd name="connsiteX28" fmla="*/ 84137 w 901340"/>
              <a:gd name="connsiteY28" fmla="*/ 616900 h 842602"/>
              <a:gd name="connsiteX29" fmla="*/ 84137 w 901340"/>
              <a:gd name="connsiteY29" fmla="*/ 588881 h 842602"/>
              <a:gd name="connsiteX30" fmla="*/ 168095 w 901340"/>
              <a:gd name="connsiteY30" fmla="*/ 504825 h 842602"/>
              <a:gd name="connsiteX31" fmla="*/ 337524 w 901340"/>
              <a:gd name="connsiteY31" fmla="*/ 223837 h 842602"/>
              <a:gd name="connsiteX32" fmla="*/ 562589 w 901340"/>
              <a:gd name="connsiteY32" fmla="*/ 223837 h 842602"/>
              <a:gd name="connsiteX33" fmla="*/ 618765 w 901340"/>
              <a:gd name="connsiteY33" fmla="*/ 280013 h 842602"/>
              <a:gd name="connsiteX34" fmla="*/ 618765 w 901340"/>
              <a:gd name="connsiteY34" fmla="*/ 336190 h 842602"/>
              <a:gd name="connsiteX35" fmla="*/ 280987 w 901340"/>
              <a:gd name="connsiteY35" fmla="*/ 336190 h 842602"/>
              <a:gd name="connsiteX36" fmla="*/ 280987 w 901340"/>
              <a:gd name="connsiteY36" fmla="*/ 280013 h 842602"/>
              <a:gd name="connsiteX37" fmla="*/ 337524 w 901340"/>
              <a:gd name="connsiteY37" fmla="*/ 223837 h 842602"/>
              <a:gd name="connsiteX38" fmla="*/ 637877 w 901340"/>
              <a:gd name="connsiteY38" fmla="*/ 142875 h 842602"/>
              <a:gd name="connsiteX39" fmla="*/ 788626 w 901340"/>
              <a:gd name="connsiteY39" fmla="*/ 421914 h 842602"/>
              <a:gd name="connsiteX40" fmla="*/ 732230 w 901340"/>
              <a:gd name="connsiteY40" fmla="*/ 421914 h 842602"/>
              <a:gd name="connsiteX41" fmla="*/ 606425 w 901340"/>
              <a:gd name="connsiteY41" fmla="*/ 189742 h 842602"/>
              <a:gd name="connsiteX42" fmla="*/ 261899 w 901340"/>
              <a:gd name="connsiteY42" fmla="*/ 142875 h 842602"/>
              <a:gd name="connsiteX43" fmla="*/ 293326 w 901340"/>
              <a:gd name="connsiteY43" fmla="*/ 189657 h 842602"/>
              <a:gd name="connsiteX44" fmla="*/ 169064 w 901340"/>
              <a:gd name="connsiteY44" fmla="*/ 420327 h 842602"/>
              <a:gd name="connsiteX45" fmla="*/ 112712 w 901340"/>
              <a:gd name="connsiteY45" fmla="*/ 420327 h 842602"/>
              <a:gd name="connsiteX46" fmla="*/ 261899 w 901340"/>
              <a:gd name="connsiteY46" fmla="*/ 142875 h 842602"/>
              <a:gd name="connsiteX47" fmla="*/ 450670 w 901340"/>
              <a:gd name="connsiteY47" fmla="*/ 0 h 842602"/>
              <a:gd name="connsiteX48" fmla="*/ 534628 w 901340"/>
              <a:gd name="connsiteY48" fmla="*/ 84415 h 842602"/>
              <a:gd name="connsiteX49" fmla="*/ 534628 w 901340"/>
              <a:gd name="connsiteY49" fmla="*/ 112434 h 842602"/>
              <a:gd name="connsiteX50" fmla="*/ 450670 w 901340"/>
              <a:gd name="connsiteY50" fmla="*/ 196491 h 842602"/>
              <a:gd name="connsiteX51" fmla="*/ 366712 w 901340"/>
              <a:gd name="connsiteY51" fmla="*/ 112434 h 842602"/>
              <a:gd name="connsiteX52" fmla="*/ 366712 w 901340"/>
              <a:gd name="connsiteY52" fmla="*/ 84415 h 842602"/>
              <a:gd name="connsiteX53" fmla="*/ 450670 w 901340"/>
              <a:gd name="connsiteY53" fmla="*/ 0 h 8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1340" h="842602">
                <a:moveTo>
                  <a:pt x="619798" y="730250"/>
                </a:moveTo>
                <a:lnTo>
                  <a:pt x="845104" y="730250"/>
                </a:lnTo>
                <a:cubicBezTo>
                  <a:pt x="867093" y="752216"/>
                  <a:pt x="879350" y="764460"/>
                  <a:pt x="901340" y="786426"/>
                </a:cubicBezTo>
                <a:lnTo>
                  <a:pt x="901340" y="842602"/>
                </a:lnTo>
                <a:lnTo>
                  <a:pt x="563562" y="842602"/>
                </a:lnTo>
                <a:lnTo>
                  <a:pt x="563562" y="786426"/>
                </a:lnTo>
                <a:close/>
                <a:moveTo>
                  <a:pt x="56536" y="730250"/>
                </a:moveTo>
                <a:lnTo>
                  <a:pt x="281241" y="730250"/>
                </a:lnTo>
                <a:lnTo>
                  <a:pt x="337777" y="786426"/>
                </a:lnTo>
                <a:lnTo>
                  <a:pt x="337777" y="842602"/>
                </a:lnTo>
                <a:lnTo>
                  <a:pt x="0" y="842602"/>
                </a:lnTo>
                <a:lnTo>
                  <a:pt x="0" y="786426"/>
                </a:lnTo>
                <a:close/>
                <a:moveTo>
                  <a:pt x="318349" y="612775"/>
                </a:moveTo>
                <a:cubicBezTo>
                  <a:pt x="399252" y="655618"/>
                  <a:pt x="502089" y="655618"/>
                  <a:pt x="582992" y="612775"/>
                </a:cubicBezTo>
                <a:lnTo>
                  <a:pt x="609241" y="662402"/>
                </a:lnTo>
                <a:cubicBezTo>
                  <a:pt x="561058" y="687751"/>
                  <a:pt x="506044" y="701318"/>
                  <a:pt x="450670" y="701318"/>
                </a:cubicBezTo>
                <a:cubicBezTo>
                  <a:pt x="395297" y="701318"/>
                  <a:pt x="340642" y="687751"/>
                  <a:pt x="292100" y="662402"/>
                </a:cubicBezTo>
                <a:close/>
                <a:moveTo>
                  <a:pt x="732270" y="504825"/>
                </a:moveTo>
                <a:cubicBezTo>
                  <a:pt x="778892" y="504825"/>
                  <a:pt x="817201" y="542542"/>
                  <a:pt x="817201" y="588881"/>
                </a:cubicBezTo>
                <a:lnTo>
                  <a:pt x="817201" y="616900"/>
                </a:lnTo>
                <a:cubicBezTo>
                  <a:pt x="817201" y="663598"/>
                  <a:pt x="778892" y="701316"/>
                  <a:pt x="732270" y="701316"/>
                </a:cubicBezTo>
                <a:cubicBezTo>
                  <a:pt x="685648" y="701316"/>
                  <a:pt x="647700" y="663598"/>
                  <a:pt x="647700" y="616900"/>
                </a:cubicBezTo>
                <a:lnTo>
                  <a:pt x="647700" y="588881"/>
                </a:lnTo>
                <a:cubicBezTo>
                  <a:pt x="647700" y="542542"/>
                  <a:pt x="685648" y="504825"/>
                  <a:pt x="732270" y="504825"/>
                </a:cubicBezTo>
                <a:close/>
                <a:moveTo>
                  <a:pt x="168095" y="504825"/>
                </a:moveTo>
                <a:cubicBezTo>
                  <a:pt x="214739" y="504825"/>
                  <a:pt x="252053" y="542542"/>
                  <a:pt x="252053" y="588881"/>
                </a:cubicBezTo>
                <a:lnTo>
                  <a:pt x="252053" y="616900"/>
                </a:lnTo>
                <a:cubicBezTo>
                  <a:pt x="252053" y="663598"/>
                  <a:pt x="214739" y="701316"/>
                  <a:pt x="168095" y="701316"/>
                </a:cubicBezTo>
                <a:cubicBezTo>
                  <a:pt x="121811" y="701316"/>
                  <a:pt x="84137" y="663598"/>
                  <a:pt x="84137" y="616900"/>
                </a:cubicBezTo>
                <a:lnTo>
                  <a:pt x="84137" y="588881"/>
                </a:lnTo>
                <a:cubicBezTo>
                  <a:pt x="84137" y="542542"/>
                  <a:pt x="121811" y="504825"/>
                  <a:pt x="168095" y="504825"/>
                </a:cubicBezTo>
                <a:close/>
                <a:moveTo>
                  <a:pt x="337524" y="223837"/>
                </a:moveTo>
                <a:lnTo>
                  <a:pt x="562589" y="223837"/>
                </a:lnTo>
                <a:cubicBezTo>
                  <a:pt x="584555" y="245803"/>
                  <a:pt x="596799" y="258407"/>
                  <a:pt x="618765" y="280013"/>
                </a:cubicBezTo>
                <a:lnTo>
                  <a:pt x="618765" y="336190"/>
                </a:lnTo>
                <a:lnTo>
                  <a:pt x="280987" y="336190"/>
                </a:lnTo>
                <a:lnTo>
                  <a:pt x="280987" y="280013"/>
                </a:lnTo>
                <a:cubicBezTo>
                  <a:pt x="302954" y="258407"/>
                  <a:pt x="315557" y="245803"/>
                  <a:pt x="337524" y="223837"/>
                </a:cubicBezTo>
                <a:close/>
                <a:moveTo>
                  <a:pt x="637877" y="142875"/>
                </a:moveTo>
                <a:cubicBezTo>
                  <a:pt x="732230" y="205605"/>
                  <a:pt x="788626" y="309794"/>
                  <a:pt x="788626" y="421914"/>
                </a:cubicBezTo>
                <a:lnTo>
                  <a:pt x="732230" y="421914"/>
                </a:lnTo>
                <a:cubicBezTo>
                  <a:pt x="732230" y="328901"/>
                  <a:pt x="685234" y="242017"/>
                  <a:pt x="606425" y="189742"/>
                </a:cubicBezTo>
                <a:close/>
                <a:moveTo>
                  <a:pt x="261899" y="142875"/>
                </a:moveTo>
                <a:lnTo>
                  <a:pt x="293326" y="189657"/>
                </a:lnTo>
                <a:cubicBezTo>
                  <a:pt x="215301" y="241477"/>
                  <a:pt x="169064" y="327843"/>
                  <a:pt x="169064" y="420327"/>
                </a:cubicBezTo>
                <a:lnTo>
                  <a:pt x="112712" y="420327"/>
                </a:lnTo>
                <a:cubicBezTo>
                  <a:pt x="112712" y="309130"/>
                  <a:pt x="168341" y="205491"/>
                  <a:pt x="261899" y="142875"/>
                </a:cubicBezTo>
                <a:close/>
                <a:moveTo>
                  <a:pt x="450670" y="0"/>
                </a:moveTo>
                <a:cubicBezTo>
                  <a:pt x="496955" y="0"/>
                  <a:pt x="534628" y="37717"/>
                  <a:pt x="534628" y="84415"/>
                </a:cubicBezTo>
                <a:lnTo>
                  <a:pt x="534628" y="112434"/>
                </a:lnTo>
                <a:cubicBezTo>
                  <a:pt x="534628" y="158773"/>
                  <a:pt x="496955" y="196491"/>
                  <a:pt x="450670" y="196491"/>
                </a:cubicBezTo>
                <a:cubicBezTo>
                  <a:pt x="404386" y="196491"/>
                  <a:pt x="366712" y="158773"/>
                  <a:pt x="366712" y="112434"/>
                </a:cubicBezTo>
                <a:lnTo>
                  <a:pt x="366712" y="84415"/>
                </a:lnTo>
                <a:cubicBezTo>
                  <a:pt x="366712" y="37717"/>
                  <a:pt x="404386" y="0"/>
                  <a:pt x="450670" y="0"/>
                </a:cubicBezTo>
                <a:close/>
              </a:path>
            </a:pathLst>
          </a:custGeom>
          <a:solidFill>
            <a:schemeClr val="bg1"/>
          </a:solidFill>
          <a:ln>
            <a:noFill/>
          </a:ln>
          <a:effectLst/>
        </p:spPr>
        <p:txBody>
          <a:bodyPr wrap="square" anchor="ctr">
            <a:noAutofit/>
          </a:bodyP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42" name="Freeform 951">
            <a:extLst>
              <a:ext uri="{FF2B5EF4-FFF2-40B4-BE49-F238E27FC236}">
                <a16:creationId xmlns:a16="http://schemas.microsoft.com/office/drawing/2014/main" id="{5200CA07-F8D4-9043-BE34-F3C48630CA48}"/>
              </a:ext>
            </a:extLst>
          </p:cNvPr>
          <p:cNvSpPr>
            <a:spLocks noChangeAspect="1" noChangeArrowheads="1"/>
          </p:cNvSpPr>
          <p:nvPr/>
        </p:nvSpPr>
        <p:spPr bwMode="auto">
          <a:xfrm>
            <a:off x="5186855" y="4251434"/>
            <a:ext cx="388883" cy="393227"/>
          </a:xfrm>
          <a:custGeom>
            <a:avLst/>
            <a:gdLst>
              <a:gd name="T0" fmla="*/ 210534 w 283807"/>
              <a:gd name="T1" fmla="*/ 196637 h 286528"/>
              <a:gd name="T2" fmla="*/ 137147 w 283807"/>
              <a:gd name="T3" fmla="*/ 281841 h 286528"/>
              <a:gd name="T4" fmla="*/ 72392 w 283807"/>
              <a:gd name="T5" fmla="*/ 187935 h 286528"/>
              <a:gd name="T6" fmla="*/ 280232 w 283807"/>
              <a:gd name="T7" fmla="*/ 288148 h 286528"/>
              <a:gd name="T8" fmla="*/ 249864 w 283807"/>
              <a:gd name="T9" fmla="*/ 283408 h 286528"/>
              <a:gd name="T10" fmla="*/ 236644 w 283807"/>
              <a:gd name="T11" fmla="*/ 257886 h 286528"/>
              <a:gd name="T12" fmla="*/ 275945 w 283807"/>
              <a:gd name="T13" fmla="*/ 187520 h 286528"/>
              <a:gd name="T14" fmla="*/ 8633 w 283807"/>
              <a:gd name="T15" fmla="*/ 249135 h 286528"/>
              <a:gd name="T16" fmla="*/ 43526 w 283807"/>
              <a:gd name="T17" fmla="*/ 257886 h 286528"/>
              <a:gd name="T18" fmla="*/ 34893 w 283807"/>
              <a:gd name="T19" fmla="*/ 257886 h 286528"/>
              <a:gd name="T20" fmla="*/ 0 w 283807"/>
              <a:gd name="T21" fmla="*/ 283408 h 286528"/>
              <a:gd name="T22" fmla="*/ 30229 w 283807"/>
              <a:gd name="T23" fmla="*/ 140989 h 286528"/>
              <a:gd name="T24" fmla="*/ 67462 w 283807"/>
              <a:gd name="T25" fmla="*/ 230651 h 286528"/>
              <a:gd name="T26" fmla="*/ 96382 w 283807"/>
              <a:gd name="T27" fmla="*/ 277478 h 286528"/>
              <a:gd name="T28" fmla="*/ 90596 w 283807"/>
              <a:gd name="T29" fmla="*/ 221939 h 286528"/>
              <a:gd name="T30" fmla="*/ 47581 w 283807"/>
              <a:gd name="T31" fmla="*/ 156961 h 286528"/>
              <a:gd name="T32" fmla="*/ 94212 w 283807"/>
              <a:gd name="T33" fmla="*/ 164584 h 286528"/>
              <a:gd name="T34" fmla="*/ 120963 w 283807"/>
              <a:gd name="T35" fmla="*/ 145345 h 286528"/>
              <a:gd name="T36" fmla="*/ 47942 w 283807"/>
              <a:gd name="T37" fmla="*/ 139174 h 286528"/>
              <a:gd name="T38" fmla="*/ 168798 w 283807"/>
              <a:gd name="T39" fmla="*/ 146369 h 286528"/>
              <a:gd name="T40" fmla="*/ 234070 w 283807"/>
              <a:gd name="T41" fmla="*/ 153576 h 286528"/>
              <a:gd name="T42" fmla="*/ 222466 w 283807"/>
              <a:gd name="T43" fmla="*/ 215922 h 286528"/>
              <a:gd name="T44" fmla="*/ 180765 w 283807"/>
              <a:gd name="T45" fmla="*/ 275023 h 286528"/>
              <a:gd name="T46" fmla="*/ 204697 w 283807"/>
              <a:gd name="T47" fmla="*/ 240788 h 286528"/>
              <a:gd name="T48" fmla="*/ 262717 w 283807"/>
              <a:gd name="T49" fmla="*/ 149972 h 286528"/>
              <a:gd name="T50" fmla="*/ 206148 w 283807"/>
              <a:gd name="T51" fmla="*/ 152495 h 286528"/>
              <a:gd name="T52" fmla="*/ 198171 w 283807"/>
              <a:gd name="T53" fmla="*/ 143846 h 286528"/>
              <a:gd name="T54" fmla="*/ 256552 w 283807"/>
              <a:gd name="T55" fmla="*/ 133396 h 286528"/>
              <a:gd name="T56" fmla="*/ 218115 w 283807"/>
              <a:gd name="T57" fmla="*/ 239707 h 286528"/>
              <a:gd name="T58" fmla="*/ 186567 w 283807"/>
              <a:gd name="T59" fmla="*/ 286557 h 286528"/>
              <a:gd name="T60" fmla="*/ 203248 w 283807"/>
              <a:gd name="T61" fmla="*/ 207994 h 286528"/>
              <a:gd name="T62" fmla="*/ 205423 w 283807"/>
              <a:gd name="T63" fmla="*/ 174478 h 286528"/>
              <a:gd name="T64" fmla="*/ 160821 w 283807"/>
              <a:gd name="T65" fmla="*/ 134117 h 286528"/>
              <a:gd name="T66" fmla="*/ 88066 w 283807"/>
              <a:gd name="T67" fmla="*/ 145345 h 286528"/>
              <a:gd name="T68" fmla="*/ 134700 w 283807"/>
              <a:gd name="T69" fmla="*/ 156235 h 286528"/>
              <a:gd name="T70" fmla="*/ 56255 w 283807"/>
              <a:gd name="T71" fmla="*/ 162769 h 286528"/>
              <a:gd name="T72" fmla="*/ 98912 w 283807"/>
              <a:gd name="T73" fmla="*/ 219035 h 286528"/>
              <a:gd name="T74" fmla="*/ 96382 w 283807"/>
              <a:gd name="T75" fmla="*/ 286554 h 286528"/>
              <a:gd name="T76" fmla="*/ 41796 w 283807"/>
              <a:gd name="T77" fmla="*/ 240089 h 286528"/>
              <a:gd name="T78" fmla="*/ 46858 w 283807"/>
              <a:gd name="T79" fmla="*/ 130824 h 286528"/>
              <a:gd name="T80" fmla="*/ 238462 w 283807"/>
              <a:gd name="T81" fmla="*/ 114508 h 286528"/>
              <a:gd name="T82" fmla="*/ 247477 w 283807"/>
              <a:gd name="T83" fmla="*/ 90814 h 286528"/>
              <a:gd name="T84" fmla="*/ 33794 w 283807"/>
              <a:gd name="T85" fmla="*/ 117426 h 286528"/>
              <a:gd name="T86" fmla="*/ 37039 w 283807"/>
              <a:gd name="T87" fmla="*/ 90814 h 286528"/>
              <a:gd name="T88" fmla="*/ 252885 w 283807"/>
              <a:gd name="T89" fmla="*/ 126175 h 286528"/>
              <a:gd name="T90" fmla="*/ 242068 w 283807"/>
              <a:gd name="T91" fmla="*/ 82793 h 286528"/>
              <a:gd name="T92" fmla="*/ 37039 w 283807"/>
              <a:gd name="T93" fmla="*/ 126904 h 286528"/>
              <a:gd name="T94" fmla="*/ 42448 w 283807"/>
              <a:gd name="T95" fmla="*/ 82793 h 286528"/>
              <a:gd name="T96" fmla="*/ 145883 w 283807"/>
              <a:gd name="T97" fmla="*/ 79529 h 286528"/>
              <a:gd name="T98" fmla="*/ 116026 w 283807"/>
              <a:gd name="T99" fmla="*/ 49627 h 286528"/>
              <a:gd name="T100" fmla="*/ 95070 w 283807"/>
              <a:gd name="T101" fmla="*/ 1146 h 286528"/>
              <a:gd name="T102" fmla="*/ 99426 w 283807"/>
              <a:gd name="T103" fmla="*/ 9845 h 286528"/>
              <a:gd name="T104" fmla="*/ 142257 w 283807"/>
              <a:gd name="T105" fmla="*/ 116397 h 286528"/>
              <a:gd name="T106" fmla="*/ 185088 w 283807"/>
              <a:gd name="T107" fmla="*/ 68194 h 286528"/>
              <a:gd name="T108" fmla="*/ 189080 w 283807"/>
              <a:gd name="T109" fmla="*/ 103711 h 286528"/>
              <a:gd name="T110" fmla="*/ 138990 w 283807"/>
              <a:gd name="T111" fmla="*/ 125456 h 286528"/>
              <a:gd name="T112" fmla="*/ 90716 w 283807"/>
              <a:gd name="T113" fmla="*/ 5132 h 2865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807" h="286528">
                <a:moveTo>
                  <a:pt x="72210" y="186878"/>
                </a:moveTo>
                <a:lnTo>
                  <a:pt x="210007" y="186878"/>
                </a:lnTo>
                <a:cubicBezTo>
                  <a:pt x="212160" y="186878"/>
                  <a:pt x="213954" y="188681"/>
                  <a:pt x="213954" y="191204"/>
                </a:cubicBezTo>
                <a:cubicBezTo>
                  <a:pt x="213954" y="193368"/>
                  <a:pt x="212160" y="195531"/>
                  <a:pt x="210007" y="195531"/>
                </a:cubicBezTo>
                <a:lnTo>
                  <a:pt x="145415" y="195531"/>
                </a:lnTo>
                <a:lnTo>
                  <a:pt x="145415" y="280256"/>
                </a:lnTo>
                <a:cubicBezTo>
                  <a:pt x="145415" y="282779"/>
                  <a:pt x="143621" y="284943"/>
                  <a:pt x="141109" y="284943"/>
                </a:cubicBezTo>
                <a:cubicBezTo>
                  <a:pt x="138597" y="284943"/>
                  <a:pt x="136803" y="282779"/>
                  <a:pt x="136803" y="280256"/>
                </a:cubicBezTo>
                <a:lnTo>
                  <a:pt x="136803" y="195531"/>
                </a:lnTo>
                <a:lnTo>
                  <a:pt x="72210" y="195531"/>
                </a:lnTo>
                <a:cubicBezTo>
                  <a:pt x="70057" y="195531"/>
                  <a:pt x="68263" y="193368"/>
                  <a:pt x="68263" y="191204"/>
                </a:cubicBezTo>
                <a:cubicBezTo>
                  <a:pt x="68263" y="188681"/>
                  <a:pt x="70057" y="186878"/>
                  <a:pt x="72210" y="186878"/>
                </a:cubicBezTo>
                <a:close/>
                <a:moveTo>
                  <a:pt x="279530" y="182115"/>
                </a:moveTo>
                <a:cubicBezTo>
                  <a:pt x="281669" y="182115"/>
                  <a:pt x="283807" y="184290"/>
                  <a:pt x="283807" y="186466"/>
                </a:cubicBezTo>
                <a:lnTo>
                  <a:pt x="283807" y="281814"/>
                </a:lnTo>
                <a:cubicBezTo>
                  <a:pt x="283807" y="284352"/>
                  <a:pt x="281669" y="286528"/>
                  <a:pt x="279530" y="286528"/>
                </a:cubicBezTo>
                <a:cubicBezTo>
                  <a:pt x="277036" y="286528"/>
                  <a:pt x="275254" y="284352"/>
                  <a:pt x="275254" y="281814"/>
                </a:cubicBezTo>
                <a:lnTo>
                  <a:pt x="275254" y="256436"/>
                </a:lnTo>
                <a:lnTo>
                  <a:pt x="249238" y="256436"/>
                </a:lnTo>
                <a:lnTo>
                  <a:pt x="249238" y="281814"/>
                </a:lnTo>
                <a:cubicBezTo>
                  <a:pt x="249238" y="284352"/>
                  <a:pt x="247100" y="286528"/>
                  <a:pt x="244961" y="286528"/>
                </a:cubicBezTo>
                <a:cubicBezTo>
                  <a:pt x="242467" y="286528"/>
                  <a:pt x="240685" y="284352"/>
                  <a:pt x="240685" y="281814"/>
                </a:cubicBezTo>
                <a:lnTo>
                  <a:pt x="240685" y="256436"/>
                </a:lnTo>
                <a:lnTo>
                  <a:pt x="236052" y="256436"/>
                </a:lnTo>
                <a:cubicBezTo>
                  <a:pt x="233914" y="256436"/>
                  <a:pt x="231775" y="254261"/>
                  <a:pt x="231775" y="251723"/>
                </a:cubicBezTo>
                <a:cubicBezTo>
                  <a:pt x="231775" y="249548"/>
                  <a:pt x="233914" y="247735"/>
                  <a:pt x="236052" y="247735"/>
                </a:cubicBezTo>
                <a:lnTo>
                  <a:pt x="275254" y="247735"/>
                </a:lnTo>
                <a:lnTo>
                  <a:pt x="275254" y="186466"/>
                </a:lnTo>
                <a:cubicBezTo>
                  <a:pt x="275254" y="184290"/>
                  <a:pt x="277036" y="182115"/>
                  <a:pt x="279530" y="182115"/>
                </a:cubicBezTo>
                <a:close/>
                <a:moveTo>
                  <a:pt x="4306" y="182115"/>
                </a:moveTo>
                <a:cubicBezTo>
                  <a:pt x="6817" y="182115"/>
                  <a:pt x="8611" y="184290"/>
                  <a:pt x="8611" y="186466"/>
                </a:cubicBezTo>
                <a:lnTo>
                  <a:pt x="8611" y="247735"/>
                </a:lnTo>
                <a:lnTo>
                  <a:pt x="48082" y="247735"/>
                </a:lnTo>
                <a:cubicBezTo>
                  <a:pt x="50235" y="247735"/>
                  <a:pt x="52029" y="249548"/>
                  <a:pt x="52029" y="251723"/>
                </a:cubicBezTo>
                <a:cubicBezTo>
                  <a:pt x="52029" y="254261"/>
                  <a:pt x="50235" y="256436"/>
                  <a:pt x="48082" y="256436"/>
                </a:cubicBezTo>
                <a:lnTo>
                  <a:pt x="43417" y="256436"/>
                </a:lnTo>
                <a:lnTo>
                  <a:pt x="43417" y="281814"/>
                </a:lnTo>
                <a:cubicBezTo>
                  <a:pt x="43417" y="284352"/>
                  <a:pt x="41623" y="286528"/>
                  <a:pt x="39111" y="286528"/>
                </a:cubicBezTo>
                <a:cubicBezTo>
                  <a:pt x="36958" y="286528"/>
                  <a:pt x="34805" y="284352"/>
                  <a:pt x="34805" y="281814"/>
                </a:cubicBezTo>
                <a:lnTo>
                  <a:pt x="34805" y="256436"/>
                </a:lnTo>
                <a:lnTo>
                  <a:pt x="8611" y="256436"/>
                </a:lnTo>
                <a:lnTo>
                  <a:pt x="8611" y="281814"/>
                </a:lnTo>
                <a:cubicBezTo>
                  <a:pt x="8611" y="284352"/>
                  <a:pt x="6817" y="286528"/>
                  <a:pt x="4306" y="286528"/>
                </a:cubicBezTo>
                <a:cubicBezTo>
                  <a:pt x="1794" y="286528"/>
                  <a:pt x="0" y="284352"/>
                  <a:pt x="0" y="281814"/>
                </a:cubicBezTo>
                <a:lnTo>
                  <a:pt x="0" y="186466"/>
                </a:lnTo>
                <a:cubicBezTo>
                  <a:pt x="0" y="184290"/>
                  <a:pt x="1794" y="182115"/>
                  <a:pt x="4306" y="182115"/>
                </a:cubicBezTo>
                <a:close/>
                <a:moveTo>
                  <a:pt x="47822" y="138391"/>
                </a:moveTo>
                <a:lnTo>
                  <a:pt x="30153" y="140196"/>
                </a:lnTo>
                <a:cubicBezTo>
                  <a:pt x="26187" y="140557"/>
                  <a:pt x="22942" y="144167"/>
                  <a:pt x="23302" y="148137"/>
                </a:cubicBezTo>
                <a:lnTo>
                  <a:pt x="25826" y="214915"/>
                </a:lnTo>
                <a:cubicBezTo>
                  <a:pt x="26187" y="223578"/>
                  <a:pt x="33038" y="230437"/>
                  <a:pt x="41331" y="229715"/>
                </a:cubicBezTo>
                <a:lnTo>
                  <a:pt x="67293" y="229354"/>
                </a:lnTo>
                <a:lnTo>
                  <a:pt x="67654" y="229354"/>
                </a:lnTo>
                <a:cubicBezTo>
                  <a:pt x="73784" y="229354"/>
                  <a:pt x="79192" y="233324"/>
                  <a:pt x="80995" y="239100"/>
                </a:cubicBezTo>
                <a:lnTo>
                  <a:pt x="90010" y="271226"/>
                </a:lnTo>
                <a:cubicBezTo>
                  <a:pt x="90731" y="274113"/>
                  <a:pt x="93255" y="275918"/>
                  <a:pt x="96140" y="275918"/>
                </a:cubicBezTo>
                <a:lnTo>
                  <a:pt x="99024" y="275918"/>
                </a:lnTo>
                <a:cubicBezTo>
                  <a:pt x="101548" y="275918"/>
                  <a:pt x="103351" y="275196"/>
                  <a:pt x="104794" y="273391"/>
                </a:cubicBezTo>
                <a:cubicBezTo>
                  <a:pt x="106236" y="271586"/>
                  <a:pt x="106597" y="269060"/>
                  <a:pt x="105875" y="266894"/>
                </a:cubicBezTo>
                <a:lnTo>
                  <a:pt x="90370" y="220691"/>
                </a:lnTo>
                <a:cubicBezTo>
                  <a:pt x="89289" y="217081"/>
                  <a:pt x="86043" y="214915"/>
                  <a:pt x="82438" y="214915"/>
                </a:cubicBezTo>
                <a:lnTo>
                  <a:pt x="62966" y="214193"/>
                </a:lnTo>
                <a:cubicBezTo>
                  <a:pt x="55033" y="214193"/>
                  <a:pt x="48182" y="207696"/>
                  <a:pt x="48182" y="199394"/>
                </a:cubicBezTo>
                <a:lnTo>
                  <a:pt x="47461" y="156078"/>
                </a:lnTo>
                <a:cubicBezTo>
                  <a:pt x="47461" y="154635"/>
                  <a:pt x="48182" y="153552"/>
                  <a:pt x="49264" y="152469"/>
                </a:cubicBezTo>
                <a:cubicBezTo>
                  <a:pt x="50346" y="151747"/>
                  <a:pt x="51788" y="151386"/>
                  <a:pt x="53231" y="151747"/>
                </a:cubicBezTo>
                <a:lnTo>
                  <a:pt x="90010" y="163659"/>
                </a:lnTo>
                <a:cubicBezTo>
                  <a:pt x="91452" y="164020"/>
                  <a:pt x="92534" y="164020"/>
                  <a:pt x="93976" y="163659"/>
                </a:cubicBezTo>
                <a:lnTo>
                  <a:pt x="123544" y="154274"/>
                </a:lnTo>
                <a:cubicBezTo>
                  <a:pt x="124987" y="153913"/>
                  <a:pt x="126068" y="152830"/>
                  <a:pt x="126790" y="151747"/>
                </a:cubicBezTo>
                <a:cubicBezTo>
                  <a:pt x="127150" y="150664"/>
                  <a:pt x="127150" y="149220"/>
                  <a:pt x="126790" y="147776"/>
                </a:cubicBezTo>
                <a:cubicBezTo>
                  <a:pt x="125708" y="145249"/>
                  <a:pt x="123184" y="144167"/>
                  <a:pt x="120660" y="144528"/>
                </a:cubicBezTo>
                <a:lnTo>
                  <a:pt x="93616" y="153191"/>
                </a:lnTo>
                <a:cubicBezTo>
                  <a:pt x="90731" y="154274"/>
                  <a:pt x="87486" y="153913"/>
                  <a:pt x="84601" y="152830"/>
                </a:cubicBezTo>
                <a:lnTo>
                  <a:pt x="53591" y="139474"/>
                </a:lnTo>
                <a:cubicBezTo>
                  <a:pt x="51788" y="138752"/>
                  <a:pt x="49625" y="138391"/>
                  <a:pt x="47822" y="138391"/>
                </a:cubicBezTo>
                <a:close/>
                <a:moveTo>
                  <a:pt x="173802" y="137304"/>
                </a:moveTo>
                <a:cubicBezTo>
                  <a:pt x="171632" y="136229"/>
                  <a:pt x="168738" y="136587"/>
                  <a:pt x="167291" y="138737"/>
                </a:cubicBezTo>
                <a:cubicBezTo>
                  <a:pt x="166206" y="139812"/>
                  <a:pt x="165844" y="140887"/>
                  <a:pt x="166206" y="142321"/>
                </a:cubicBezTo>
                <a:cubicBezTo>
                  <a:pt x="166206" y="143754"/>
                  <a:pt x="166929" y="145187"/>
                  <a:pt x="168376" y="145546"/>
                </a:cubicBezTo>
                <a:lnTo>
                  <a:pt x="196951" y="165255"/>
                </a:lnTo>
                <a:cubicBezTo>
                  <a:pt x="198036" y="166330"/>
                  <a:pt x="199845" y="166330"/>
                  <a:pt x="201292" y="165613"/>
                </a:cubicBezTo>
                <a:lnTo>
                  <a:pt x="231675" y="153071"/>
                </a:lnTo>
                <a:cubicBezTo>
                  <a:pt x="232399" y="152713"/>
                  <a:pt x="232760" y="152713"/>
                  <a:pt x="233484" y="152713"/>
                </a:cubicBezTo>
                <a:cubicBezTo>
                  <a:pt x="234207" y="152713"/>
                  <a:pt x="234931" y="152713"/>
                  <a:pt x="236016" y="153071"/>
                </a:cubicBezTo>
                <a:cubicBezTo>
                  <a:pt x="237101" y="154146"/>
                  <a:pt x="237824" y="155580"/>
                  <a:pt x="237824" y="157013"/>
                </a:cubicBezTo>
                <a:lnTo>
                  <a:pt x="237101" y="200015"/>
                </a:lnTo>
                <a:cubicBezTo>
                  <a:pt x="237101" y="208257"/>
                  <a:pt x="230228" y="214708"/>
                  <a:pt x="221909" y="214708"/>
                </a:cubicBezTo>
                <a:lnTo>
                  <a:pt x="202739" y="215424"/>
                </a:lnTo>
                <a:cubicBezTo>
                  <a:pt x="199121" y="215424"/>
                  <a:pt x="195866" y="217575"/>
                  <a:pt x="194781" y="221158"/>
                </a:cubicBezTo>
                <a:lnTo>
                  <a:pt x="179227" y="267027"/>
                </a:lnTo>
                <a:cubicBezTo>
                  <a:pt x="178504" y="269177"/>
                  <a:pt x="178866" y="271686"/>
                  <a:pt x="180313" y="273477"/>
                </a:cubicBezTo>
                <a:cubicBezTo>
                  <a:pt x="181398" y="275269"/>
                  <a:pt x="183568" y="275986"/>
                  <a:pt x="186100" y="275986"/>
                </a:cubicBezTo>
                <a:lnTo>
                  <a:pt x="188632" y="275986"/>
                </a:lnTo>
                <a:cubicBezTo>
                  <a:pt x="191526" y="275986"/>
                  <a:pt x="194058" y="274194"/>
                  <a:pt x="195143" y="271327"/>
                </a:cubicBezTo>
                <a:lnTo>
                  <a:pt x="204185" y="239434"/>
                </a:lnTo>
                <a:cubicBezTo>
                  <a:pt x="205994" y="233700"/>
                  <a:pt x="211420" y="229758"/>
                  <a:pt x="217930" y="229758"/>
                </a:cubicBezTo>
                <a:lnTo>
                  <a:pt x="243612" y="230117"/>
                </a:lnTo>
                <a:cubicBezTo>
                  <a:pt x="252293" y="230834"/>
                  <a:pt x="259165" y="224025"/>
                  <a:pt x="259527" y="215424"/>
                </a:cubicBezTo>
                <a:lnTo>
                  <a:pt x="262059" y="149129"/>
                </a:lnTo>
                <a:cubicBezTo>
                  <a:pt x="262059" y="145187"/>
                  <a:pt x="259165" y="141604"/>
                  <a:pt x="255186" y="141246"/>
                </a:cubicBezTo>
                <a:lnTo>
                  <a:pt x="237463" y="139454"/>
                </a:lnTo>
                <a:cubicBezTo>
                  <a:pt x="235292" y="139454"/>
                  <a:pt x="233484" y="139812"/>
                  <a:pt x="231675" y="140529"/>
                </a:cubicBezTo>
                <a:lnTo>
                  <a:pt x="205632" y="151638"/>
                </a:lnTo>
                <a:cubicBezTo>
                  <a:pt x="201292" y="153071"/>
                  <a:pt x="196590" y="152713"/>
                  <a:pt x="192611" y="150204"/>
                </a:cubicBezTo>
                <a:lnTo>
                  <a:pt x="173802" y="137304"/>
                </a:lnTo>
                <a:close/>
                <a:moveTo>
                  <a:pt x="178866" y="130137"/>
                </a:moveTo>
                <a:lnTo>
                  <a:pt x="197675" y="143037"/>
                </a:lnTo>
                <a:cubicBezTo>
                  <a:pt x="198760" y="144112"/>
                  <a:pt x="200568" y="144112"/>
                  <a:pt x="202377" y="143754"/>
                </a:cubicBezTo>
                <a:lnTo>
                  <a:pt x="228058" y="132645"/>
                </a:lnTo>
                <a:cubicBezTo>
                  <a:pt x="231314" y="131212"/>
                  <a:pt x="234931" y="130853"/>
                  <a:pt x="238548" y="131212"/>
                </a:cubicBezTo>
                <a:lnTo>
                  <a:pt x="255910" y="132645"/>
                </a:lnTo>
                <a:cubicBezTo>
                  <a:pt x="264591" y="133362"/>
                  <a:pt x="271102" y="140887"/>
                  <a:pt x="270740" y="149129"/>
                </a:cubicBezTo>
                <a:lnTo>
                  <a:pt x="268208" y="215783"/>
                </a:lnTo>
                <a:cubicBezTo>
                  <a:pt x="267846" y="228683"/>
                  <a:pt x="256633" y="239434"/>
                  <a:pt x="243612" y="239076"/>
                </a:cubicBezTo>
                <a:lnTo>
                  <a:pt x="217569" y="238359"/>
                </a:lnTo>
                <a:cubicBezTo>
                  <a:pt x="215037" y="238359"/>
                  <a:pt x="213228" y="239792"/>
                  <a:pt x="212505" y="241942"/>
                </a:cubicBezTo>
                <a:lnTo>
                  <a:pt x="203462" y="273836"/>
                </a:lnTo>
                <a:cubicBezTo>
                  <a:pt x="201653" y="280286"/>
                  <a:pt x="195504" y="284945"/>
                  <a:pt x="188632" y="284945"/>
                </a:cubicBezTo>
                <a:lnTo>
                  <a:pt x="186100" y="284945"/>
                </a:lnTo>
                <a:cubicBezTo>
                  <a:pt x="180674" y="284945"/>
                  <a:pt x="176334" y="282436"/>
                  <a:pt x="173078" y="278136"/>
                </a:cubicBezTo>
                <a:cubicBezTo>
                  <a:pt x="170185" y="274194"/>
                  <a:pt x="169461" y="269177"/>
                  <a:pt x="171270" y="264519"/>
                </a:cubicBezTo>
                <a:lnTo>
                  <a:pt x="186462" y="218291"/>
                </a:lnTo>
                <a:cubicBezTo>
                  <a:pt x="188632" y="211483"/>
                  <a:pt x="195143" y="206824"/>
                  <a:pt x="202739" y="206824"/>
                </a:cubicBezTo>
                <a:lnTo>
                  <a:pt x="221909" y="206466"/>
                </a:lnTo>
                <a:cubicBezTo>
                  <a:pt x="225526" y="206107"/>
                  <a:pt x="228420" y="203599"/>
                  <a:pt x="228420" y="200015"/>
                </a:cubicBezTo>
                <a:lnTo>
                  <a:pt x="228782" y="163463"/>
                </a:lnTo>
                <a:lnTo>
                  <a:pt x="204909" y="173497"/>
                </a:lnTo>
                <a:cubicBezTo>
                  <a:pt x="200568" y="175289"/>
                  <a:pt x="195866" y="174931"/>
                  <a:pt x="191887" y="172422"/>
                </a:cubicBezTo>
                <a:lnTo>
                  <a:pt x="163312" y="152713"/>
                </a:lnTo>
                <a:cubicBezTo>
                  <a:pt x="160419" y="150921"/>
                  <a:pt x="158248" y="147337"/>
                  <a:pt x="157525" y="143754"/>
                </a:cubicBezTo>
                <a:cubicBezTo>
                  <a:pt x="157163" y="140170"/>
                  <a:pt x="158248" y="136587"/>
                  <a:pt x="160419" y="133362"/>
                </a:cubicBezTo>
                <a:cubicBezTo>
                  <a:pt x="164759" y="127628"/>
                  <a:pt x="172717" y="126553"/>
                  <a:pt x="178866" y="130137"/>
                </a:cubicBezTo>
                <a:close/>
                <a:moveTo>
                  <a:pt x="46740" y="130089"/>
                </a:moveTo>
                <a:cubicBezTo>
                  <a:pt x="50346" y="129728"/>
                  <a:pt x="53591" y="130089"/>
                  <a:pt x="56836" y="131533"/>
                </a:cubicBezTo>
                <a:lnTo>
                  <a:pt x="87846" y="144528"/>
                </a:lnTo>
                <a:cubicBezTo>
                  <a:pt x="88928" y="144889"/>
                  <a:pt x="90010" y="145249"/>
                  <a:pt x="91452" y="144889"/>
                </a:cubicBezTo>
                <a:lnTo>
                  <a:pt x="118136" y="136225"/>
                </a:lnTo>
                <a:cubicBezTo>
                  <a:pt x="124987" y="134421"/>
                  <a:pt x="132198" y="138030"/>
                  <a:pt x="135083" y="144528"/>
                </a:cubicBezTo>
                <a:cubicBezTo>
                  <a:pt x="136165" y="148137"/>
                  <a:pt x="135804" y="152108"/>
                  <a:pt x="134362" y="155356"/>
                </a:cubicBezTo>
                <a:cubicBezTo>
                  <a:pt x="132919" y="158966"/>
                  <a:pt x="129674" y="161493"/>
                  <a:pt x="126068" y="162576"/>
                </a:cubicBezTo>
                <a:lnTo>
                  <a:pt x="96861" y="171961"/>
                </a:lnTo>
                <a:cubicBezTo>
                  <a:pt x="93616" y="172683"/>
                  <a:pt x="90370" y="172683"/>
                  <a:pt x="87486" y="171961"/>
                </a:cubicBezTo>
                <a:lnTo>
                  <a:pt x="56115" y="161854"/>
                </a:lnTo>
                <a:lnTo>
                  <a:pt x="56836" y="199394"/>
                </a:lnTo>
                <a:cubicBezTo>
                  <a:pt x="56836" y="203004"/>
                  <a:pt x="59721" y="205530"/>
                  <a:pt x="63327" y="205891"/>
                </a:cubicBezTo>
                <a:lnTo>
                  <a:pt x="82438" y="206252"/>
                </a:lnTo>
                <a:cubicBezTo>
                  <a:pt x="89649" y="206252"/>
                  <a:pt x="96140" y="210945"/>
                  <a:pt x="98664" y="217803"/>
                </a:cubicBezTo>
                <a:lnTo>
                  <a:pt x="113808" y="264367"/>
                </a:lnTo>
                <a:cubicBezTo>
                  <a:pt x="115612" y="269060"/>
                  <a:pt x="114890" y="274113"/>
                  <a:pt x="111645" y="278084"/>
                </a:cubicBezTo>
                <a:cubicBezTo>
                  <a:pt x="108760" y="282415"/>
                  <a:pt x="104072" y="284942"/>
                  <a:pt x="99024" y="284942"/>
                </a:cubicBezTo>
                <a:lnTo>
                  <a:pt x="96140" y="284942"/>
                </a:lnTo>
                <a:cubicBezTo>
                  <a:pt x="89649" y="284942"/>
                  <a:pt x="83519" y="280250"/>
                  <a:pt x="81716" y="273752"/>
                </a:cubicBezTo>
                <a:lnTo>
                  <a:pt x="72702" y="241627"/>
                </a:lnTo>
                <a:cubicBezTo>
                  <a:pt x="71981" y="239461"/>
                  <a:pt x="70178" y="238017"/>
                  <a:pt x="67654" y="238017"/>
                </a:cubicBezTo>
                <a:lnTo>
                  <a:pt x="41692" y="238739"/>
                </a:lnTo>
                <a:cubicBezTo>
                  <a:pt x="28711" y="239100"/>
                  <a:pt x="17533" y="228271"/>
                  <a:pt x="17172" y="215276"/>
                </a:cubicBezTo>
                <a:lnTo>
                  <a:pt x="14648" y="148137"/>
                </a:lnTo>
                <a:cubicBezTo>
                  <a:pt x="14288" y="139835"/>
                  <a:pt x="20778" y="132255"/>
                  <a:pt x="29432" y="131533"/>
                </a:cubicBezTo>
                <a:lnTo>
                  <a:pt x="46740" y="130089"/>
                </a:lnTo>
                <a:close/>
                <a:moveTo>
                  <a:pt x="246857" y="90303"/>
                </a:moveTo>
                <a:cubicBezTo>
                  <a:pt x="245418" y="90303"/>
                  <a:pt x="244699" y="90303"/>
                  <a:pt x="243260" y="91028"/>
                </a:cubicBezTo>
                <a:cubicBezTo>
                  <a:pt x="238225" y="92115"/>
                  <a:pt x="234269" y="96828"/>
                  <a:pt x="233549" y="101903"/>
                </a:cubicBezTo>
                <a:cubicBezTo>
                  <a:pt x="232830" y="106253"/>
                  <a:pt x="234269" y="110965"/>
                  <a:pt x="237865" y="113865"/>
                </a:cubicBezTo>
                <a:cubicBezTo>
                  <a:pt x="241102" y="116765"/>
                  <a:pt x="245418" y="118215"/>
                  <a:pt x="250094" y="116765"/>
                </a:cubicBezTo>
                <a:cubicBezTo>
                  <a:pt x="255129" y="115678"/>
                  <a:pt x="259085" y="111328"/>
                  <a:pt x="259805" y="105890"/>
                </a:cubicBezTo>
                <a:cubicBezTo>
                  <a:pt x="260524" y="101178"/>
                  <a:pt x="259085" y="96828"/>
                  <a:pt x="255489" y="93928"/>
                </a:cubicBezTo>
                <a:cubicBezTo>
                  <a:pt x="253331" y="91390"/>
                  <a:pt x="250094" y="90303"/>
                  <a:pt x="246857" y="90303"/>
                </a:cubicBezTo>
                <a:close/>
                <a:moveTo>
                  <a:pt x="36947" y="90303"/>
                </a:moveTo>
                <a:cubicBezTo>
                  <a:pt x="33710" y="90303"/>
                  <a:pt x="30473" y="91390"/>
                  <a:pt x="28315" y="93928"/>
                </a:cubicBezTo>
                <a:cubicBezTo>
                  <a:pt x="24718" y="96828"/>
                  <a:pt x="22920" y="101178"/>
                  <a:pt x="23639" y="105890"/>
                </a:cubicBezTo>
                <a:cubicBezTo>
                  <a:pt x="24718" y="111328"/>
                  <a:pt x="28674" y="115678"/>
                  <a:pt x="33710" y="116765"/>
                </a:cubicBezTo>
                <a:cubicBezTo>
                  <a:pt x="38026" y="118215"/>
                  <a:pt x="42701" y="116765"/>
                  <a:pt x="45938" y="113865"/>
                </a:cubicBezTo>
                <a:cubicBezTo>
                  <a:pt x="49175" y="110965"/>
                  <a:pt x="50973" y="106253"/>
                  <a:pt x="50254" y="101903"/>
                </a:cubicBezTo>
                <a:cubicBezTo>
                  <a:pt x="49535" y="96828"/>
                  <a:pt x="45579" y="92115"/>
                  <a:pt x="40543" y="91028"/>
                </a:cubicBezTo>
                <a:cubicBezTo>
                  <a:pt x="39105" y="90303"/>
                  <a:pt x="38026" y="90303"/>
                  <a:pt x="36947" y="90303"/>
                </a:cubicBezTo>
                <a:close/>
                <a:moveTo>
                  <a:pt x="241462" y="82328"/>
                </a:moveTo>
                <a:cubicBezTo>
                  <a:pt x="248655" y="80515"/>
                  <a:pt x="255848" y="82690"/>
                  <a:pt x="261603" y="87403"/>
                </a:cubicBezTo>
                <a:cubicBezTo>
                  <a:pt x="266638" y="92478"/>
                  <a:pt x="269516" y="99728"/>
                  <a:pt x="268437" y="106978"/>
                </a:cubicBezTo>
                <a:cubicBezTo>
                  <a:pt x="266998" y="116040"/>
                  <a:pt x="260524" y="123291"/>
                  <a:pt x="252252" y="125466"/>
                </a:cubicBezTo>
                <a:cubicBezTo>
                  <a:pt x="250453" y="125828"/>
                  <a:pt x="248655" y="126191"/>
                  <a:pt x="246857" y="126191"/>
                </a:cubicBezTo>
                <a:cubicBezTo>
                  <a:pt x="241462" y="126191"/>
                  <a:pt x="236067" y="124016"/>
                  <a:pt x="231751" y="120390"/>
                </a:cubicBezTo>
                <a:cubicBezTo>
                  <a:pt x="226716" y="115315"/>
                  <a:pt x="223838" y="108065"/>
                  <a:pt x="224917" y="100815"/>
                </a:cubicBezTo>
                <a:cubicBezTo>
                  <a:pt x="226356" y="92115"/>
                  <a:pt x="232830" y="84503"/>
                  <a:pt x="241462" y="82328"/>
                </a:cubicBezTo>
                <a:close/>
                <a:moveTo>
                  <a:pt x="42342" y="82328"/>
                </a:moveTo>
                <a:cubicBezTo>
                  <a:pt x="50973" y="84503"/>
                  <a:pt x="57447" y="92115"/>
                  <a:pt x="58886" y="100815"/>
                </a:cubicBezTo>
                <a:cubicBezTo>
                  <a:pt x="59965" y="108065"/>
                  <a:pt x="57088" y="115315"/>
                  <a:pt x="51693" y="120390"/>
                </a:cubicBezTo>
                <a:cubicBezTo>
                  <a:pt x="47737" y="124016"/>
                  <a:pt x="42342" y="126191"/>
                  <a:pt x="36947" y="126191"/>
                </a:cubicBezTo>
                <a:cubicBezTo>
                  <a:pt x="35148" y="126191"/>
                  <a:pt x="33350" y="125828"/>
                  <a:pt x="31552" y="125466"/>
                </a:cubicBezTo>
                <a:cubicBezTo>
                  <a:pt x="22920" y="123291"/>
                  <a:pt x="16446" y="116040"/>
                  <a:pt x="15367" y="106978"/>
                </a:cubicBezTo>
                <a:cubicBezTo>
                  <a:pt x="14288" y="99728"/>
                  <a:pt x="16805" y="92478"/>
                  <a:pt x="22200" y="87403"/>
                </a:cubicBezTo>
                <a:cubicBezTo>
                  <a:pt x="27595" y="82690"/>
                  <a:pt x="35148" y="80515"/>
                  <a:pt x="42342" y="82328"/>
                </a:cubicBezTo>
                <a:close/>
                <a:moveTo>
                  <a:pt x="210822" y="1344"/>
                </a:moveTo>
                <a:cubicBezTo>
                  <a:pt x="212617" y="-447"/>
                  <a:pt x="215487" y="-447"/>
                  <a:pt x="216922" y="1344"/>
                </a:cubicBezTo>
                <a:cubicBezTo>
                  <a:pt x="218716" y="3135"/>
                  <a:pt x="218716" y="5643"/>
                  <a:pt x="216922" y="7434"/>
                </a:cubicBezTo>
                <a:lnTo>
                  <a:pt x="145517" y="79082"/>
                </a:lnTo>
                <a:cubicBezTo>
                  <a:pt x="144441" y="79799"/>
                  <a:pt x="143365" y="80157"/>
                  <a:pt x="142288" y="80157"/>
                </a:cubicBezTo>
                <a:cubicBezTo>
                  <a:pt x="141212" y="80157"/>
                  <a:pt x="140135" y="79799"/>
                  <a:pt x="139418" y="79082"/>
                </a:cubicBezTo>
                <a:lnTo>
                  <a:pt x="115736" y="55797"/>
                </a:lnTo>
                <a:cubicBezTo>
                  <a:pt x="114300" y="54005"/>
                  <a:pt x="114300" y="51139"/>
                  <a:pt x="115736" y="49348"/>
                </a:cubicBezTo>
                <a:cubicBezTo>
                  <a:pt x="117530" y="47915"/>
                  <a:pt x="120400" y="47915"/>
                  <a:pt x="121835" y="49348"/>
                </a:cubicBezTo>
                <a:lnTo>
                  <a:pt x="142288" y="70126"/>
                </a:lnTo>
                <a:lnTo>
                  <a:pt x="210822" y="1344"/>
                </a:lnTo>
                <a:close/>
                <a:moveTo>
                  <a:pt x="94832" y="1140"/>
                </a:moveTo>
                <a:lnTo>
                  <a:pt x="177383" y="1140"/>
                </a:lnTo>
                <a:cubicBezTo>
                  <a:pt x="179555" y="1140"/>
                  <a:pt x="181727" y="2942"/>
                  <a:pt x="181727" y="5104"/>
                </a:cubicBezTo>
                <a:cubicBezTo>
                  <a:pt x="181727" y="7627"/>
                  <a:pt x="179555" y="9789"/>
                  <a:pt x="177383" y="9789"/>
                </a:cubicBezTo>
                <a:lnTo>
                  <a:pt x="99177" y="9789"/>
                </a:lnTo>
                <a:lnTo>
                  <a:pt x="99177" y="94479"/>
                </a:lnTo>
                <a:lnTo>
                  <a:pt x="118367" y="94479"/>
                </a:lnTo>
                <a:cubicBezTo>
                  <a:pt x="119453" y="94479"/>
                  <a:pt x="120539" y="94839"/>
                  <a:pt x="121263" y="95560"/>
                </a:cubicBezTo>
                <a:lnTo>
                  <a:pt x="141901" y="115742"/>
                </a:lnTo>
                <a:lnTo>
                  <a:pt x="162538" y="95560"/>
                </a:lnTo>
                <a:cubicBezTo>
                  <a:pt x="162900" y="94839"/>
                  <a:pt x="164348" y="94479"/>
                  <a:pt x="165435" y="94479"/>
                </a:cubicBezTo>
                <a:lnTo>
                  <a:pt x="184624" y="94479"/>
                </a:lnTo>
                <a:lnTo>
                  <a:pt x="184624" y="67811"/>
                </a:lnTo>
                <a:cubicBezTo>
                  <a:pt x="184624" y="65648"/>
                  <a:pt x="186434" y="63847"/>
                  <a:pt x="188606" y="63847"/>
                </a:cubicBezTo>
                <a:cubicBezTo>
                  <a:pt x="191141" y="63847"/>
                  <a:pt x="193313" y="65648"/>
                  <a:pt x="193313" y="67811"/>
                </a:cubicBezTo>
                <a:lnTo>
                  <a:pt x="193313" y="98804"/>
                </a:lnTo>
                <a:cubicBezTo>
                  <a:pt x="193313" y="100966"/>
                  <a:pt x="191141" y="103128"/>
                  <a:pt x="188606" y="103128"/>
                </a:cubicBezTo>
                <a:lnTo>
                  <a:pt x="167245" y="103128"/>
                </a:lnTo>
                <a:lnTo>
                  <a:pt x="144797" y="124751"/>
                </a:lnTo>
                <a:cubicBezTo>
                  <a:pt x="144073" y="125832"/>
                  <a:pt x="142987" y="126193"/>
                  <a:pt x="141901" y="126193"/>
                </a:cubicBezTo>
                <a:cubicBezTo>
                  <a:pt x="140815" y="126193"/>
                  <a:pt x="139728" y="125832"/>
                  <a:pt x="138642" y="124751"/>
                </a:cubicBezTo>
                <a:lnTo>
                  <a:pt x="116557" y="103128"/>
                </a:lnTo>
                <a:lnTo>
                  <a:pt x="94832" y="103128"/>
                </a:lnTo>
                <a:cubicBezTo>
                  <a:pt x="92298" y="103128"/>
                  <a:pt x="90488" y="100966"/>
                  <a:pt x="90488" y="98804"/>
                </a:cubicBezTo>
                <a:lnTo>
                  <a:pt x="90488" y="5104"/>
                </a:lnTo>
                <a:cubicBezTo>
                  <a:pt x="90488" y="2942"/>
                  <a:pt x="92298" y="1140"/>
                  <a:pt x="94832" y="1140"/>
                </a:cubicBezTo>
                <a:close/>
              </a:path>
            </a:pathLst>
          </a:custGeom>
          <a:solidFill>
            <a:schemeClr val="bg1"/>
          </a:solidFill>
          <a:ln>
            <a:noFill/>
          </a:ln>
          <a:effectLst/>
        </p:spPr>
        <p:txBody>
          <a:bodyPr anchor="ct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Medium"/>
              <a:ea typeface="+mn-ea"/>
              <a:cs typeface="+mn-cs"/>
            </a:endParaRPr>
          </a:p>
        </p:txBody>
      </p:sp>
      <p:sp>
        <p:nvSpPr>
          <p:cNvPr id="48" name="Freeform 936">
            <a:extLst>
              <a:ext uri="{FF2B5EF4-FFF2-40B4-BE49-F238E27FC236}">
                <a16:creationId xmlns:a16="http://schemas.microsoft.com/office/drawing/2014/main" id="{89B43DEA-0233-9A48-AB97-CEA3DD779351}"/>
              </a:ext>
            </a:extLst>
          </p:cNvPr>
          <p:cNvSpPr>
            <a:spLocks noChangeAspect="1" noChangeArrowheads="1"/>
          </p:cNvSpPr>
          <p:nvPr/>
        </p:nvSpPr>
        <p:spPr bwMode="auto">
          <a:xfrm>
            <a:off x="5623033" y="3337034"/>
            <a:ext cx="449969" cy="383627"/>
          </a:xfrm>
          <a:custGeom>
            <a:avLst/>
            <a:gdLst>
              <a:gd name="T0" fmla="*/ 42729 w 285028"/>
              <a:gd name="T1" fmla="*/ 278134 h 285390"/>
              <a:gd name="T2" fmla="*/ 57214 w 285028"/>
              <a:gd name="T3" fmla="*/ 179553 h 285390"/>
              <a:gd name="T4" fmla="*/ 72423 w 285028"/>
              <a:gd name="T5" fmla="*/ 278134 h 285390"/>
              <a:gd name="T6" fmla="*/ 32227 w 285028"/>
              <a:gd name="T7" fmla="*/ 168681 h 285390"/>
              <a:gd name="T8" fmla="*/ 63761 w 285028"/>
              <a:gd name="T9" fmla="*/ 141533 h 285390"/>
              <a:gd name="T10" fmla="*/ 54524 w 285028"/>
              <a:gd name="T11" fmla="*/ 138905 h 285390"/>
              <a:gd name="T12" fmla="*/ 63761 w 285028"/>
              <a:gd name="T13" fmla="*/ 112948 h 285390"/>
              <a:gd name="T14" fmla="*/ 54524 w 285028"/>
              <a:gd name="T15" fmla="*/ 119628 h 285390"/>
              <a:gd name="T16" fmla="*/ 58757 w 285028"/>
              <a:gd name="T17" fmla="*/ 82967 h 285390"/>
              <a:gd name="T18" fmla="*/ 58757 w 285028"/>
              <a:gd name="T19" fmla="*/ 98552 h 285390"/>
              <a:gd name="T20" fmla="*/ 58757 w 285028"/>
              <a:gd name="T21" fmla="*/ 82967 h 285390"/>
              <a:gd name="T22" fmla="*/ 240891 w 285028"/>
              <a:gd name="T23" fmla="*/ 102427 h 285390"/>
              <a:gd name="T24" fmla="*/ 215001 w 285028"/>
              <a:gd name="T25" fmla="*/ 110034 h 285390"/>
              <a:gd name="T26" fmla="*/ 231775 w 285028"/>
              <a:gd name="T27" fmla="*/ 124888 h 285390"/>
              <a:gd name="T28" fmla="*/ 283552 w 285028"/>
              <a:gd name="T29" fmla="*/ 186840 h 285390"/>
              <a:gd name="T30" fmla="*/ 256204 w 285028"/>
              <a:gd name="T31" fmla="*/ 286832 h 285390"/>
              <a:gd name="T32" fmla="*/ 256204 w 285028"/>
              <a:gd name="T33" fmla="*/ 178145 h 285390"/>
              <a:gd name="T34" fmla="*/ 184374 w 285028"/>
              <a:gd name="T35" fmla="*/ 178145 h 285390"/>
              <a:gd name="T36" fmla="*/ 205886 w 285028"/>
              <a:gd name="T37" fmla="*/ 282122 h 285390"/>
              <a:gd name="T38" fmla="*/ 197135 w 285028"/>
              <a:gd name="T39" fmla="*/ 186840 h 285390"/>
              <a:gd name="T40" fmla="*/ 170884 w 285028"/>
              <a:gd name="T41" fmla="*/ 179594 h 285390"/>
              <a:gd name="T42" fmla="*/ 210627 w 285028"/>
              <a:gd name="T43" fmla="*/ 101339 h 285390"/>
              <a:gd name="T44" fmla="*/ 138795 w 285028"/>
              <a:gd name="T45" fmla="*/ 101339 h 285390"/>
              <a:gd name="T46" fmla="*/ 159943 w 285028"/>
              <a:gd name="T47" fmla="*/ 282122 h 285390"/>
              <a:gd name="T48" fmla="*/ 151557 w 285028"/>
              <a:gd name="T49" fmla="*/ 110034 h 285390"/>
              <a:gd name="T50" fmla="*/ 125304 w 285028"/>
              <a:gd name="T51" fmla="*/ 102427 h 285390"/>
              <a:gd name="T52" fmla="*/ 97408 w 285028"/>
              <a:gd name="T53" fmla="*/ 59950 h 285390"/>
              <a:gd name="T54" fmla="*/ 57214 w 285028"/>
              <a:gd name="T55" fmla="*/ 71186 h 285390"/>
              <a:gd name="T56" fmla="*/ 8691 w 285028"/>
              <a:gd name="T57" fmla="*/ 87496 h 285390"/>
              <a:gd name="T58" fmla="*/ 23175 w 285028"/>
              <a:gd name="T59" fmla="*/ 165418 h 285390"/>
              <a:gd name="T60" fmla="*/ 32227 w 285028"/>
              <a:gd name="T61" fmla="*/ 91482 h 285390"/>
              <a:gd name="T62" fmla="*/ 82924 w 285028"/>
              <a:gd name="T63" fmla="*/ 105618 h 285390"/>
              <a:gd name="T64" fmla="*/ 148104 w 285028"/>
              <a:gd name="T65" fmla="*/ 26970 h 285390"/>
              <a:gd name="T66" fmla="*/ 140682 w 285028"/>
              <a:gd name="T67" fmla="*/ 11114 h 285390"/>
              <a:gd name="T68" fmla="*/ 152087 w 285028"/>
              <a:gd name="T69" fmla="*/ 38205 h 285390"/>
              <a:gd name="T70" fmla="*/ 91614 w 285028"/>
              <a:gd name="T71" fmla="*/ 267623 h 285390"/>
              <a:gd name="T72" fmla="*/ 42729 w 285028"/>
              <a:gd name="T73" fmla="*/ 286831 h 285390"/>
              <a:gd name="T74" fmla="*/ 15932 w 285028"/>
              <a:gd name="T75" fmla="*/ 181727 h 285390"/>
              <a:gd name="T76" fmla="*/ 27520 w 285028"/>
              <a:gd name="T77" fmla="*/ 59950 h 285390"/>
              <a:gd name="T78" fmla="*/ 129275 w 285028"/>
              <a:gd name="T79" fmla="*/ 15735 h 285390"/>
              <a:gd name="T80" fmla="*/ 42322 w 285028"/>
              <a:gd name="T81" fmla="*/ 24374 h 285390"/>
              <a:gd name="T82" fmla="*/ 58173 w 285028"/>
              <a:gd name="T83" fmla="*/ 8603 h 285390"/>
              <a:gd name="T84" fmla="*/ 58173 w 285028"/>
              <a:gd name="T85" fmla="*/ 49104 h 285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5028" h="285390">
                <a:moveTo>
                  <a:pt x="31903" y="167832"/>
                </a:moveTo>
                <a:lnTo>
                  <a:pt x="31903" y="266277"/>
                </a:lnTo>
                <a:cubicBezTo>
                  <a:pt x="31903" y="272047"/>
                  <a:pt x="36563" y="276735"/>
                  <a:pt x="42299" y="276735"/>
                </a:cubicBezTo>
                <a:cubicBezTo>
                  <a:pt x="48034" y="276735"/>
                  <a:pt x="52695" y="272047"/>
                  <a:pt x="52695" y="266277"/>
                </a:cubicBezTo>
                <a:lnTo>
                  <a:pt x="52695" y="182977"/>
                </a:lnTo>
                <a:cubicBezTo>
                  <a:pt x="52695" y="180813"/>
                  <a:pt x="54487" y="178650"/>
                  <a:pt x="56638" y="178650"/>
                </a:cubicBezTo>
                <a:cubicBezTo>
                  <a:pt x="59147" y="178650"/>
                  <a:pt x="61298" y="180813"/>
                  <a:pt x="61298" y="182977"/>
                </a:cubicBezTo>
                <a:lnTo>
                  <a:pt x="61298" y="266277"/>
                </a:lnTo>
                <a:cubicBezTo>
                  <a:pt x="61298" y="272047"/>
                  <a:pt x="65958" y="276735"/>
                  <a:pt x="71693" y="276735"/>
                </a:cubicBezTo>
                <a:cubicBezTo>
                  <a:pt x="77070" y="276735"/>
                  <a:pt x="82089" y="272047"/>
                  <a:pt x="82089" y="266277"/>
                </a:cubicBezTo>
                <a:lnTo>
                  <a:pt x="82089" y="167832"/>
                </a:lnTo>
                <a:lnTo>
                  <a:pt x="31903" y="167832"/>
                </a:lnTo>
                <a:close/>
                <a:moveTo>
                  <a:pt x="58166" y="133350"/>
                </a:moveTo>
                <a:cubicBezTo>
                  <a:pt x="60833" y="133350"/>
                  <a:pt x="63119" y="135591"/>
                  <a:pt x="63119" y="138206"/>
                </a:cubicBezTo>
                <a:lnTo>
                  <a:pt x="63119" y="140821"/>
                </a:lnTo>
                <a:cubicBezTo>
                  <a:pt x="63119" y="143435"/>
                  <a:pt x="60833" y="145676"/>
                  <a:pt x="58166" y="145676"/>
                </a:cubicBezTo>
                <a:cubicBezTo>
                  <a:pt x="55880" y="145676"/>
                  <a:pt x="53975" y="143435"/>
                  <a:pt x="53975" y="140821"/>
                </a:cubicBezTo>
                <a:lnTo>
                  <a:pt x="53975" y="138206"/>
                </a:lnTo>
                <a:cubicBezTo>
                  <a:pt x="53975" y="135591"/>
                  <a:pt x="55880" y="133350"/>
                  <a:pt x="58166" y="133350"/>
                </a:cubicBezTo>
                <a:close/>
                <a:moveTo>
                  <a:pt x="58166" y="107950"/>
                </a:moveTo>
                <a:cubicBezTo>
                  <a:pt x="60833" y="107950"/>
                  <a:pt x="63119" y="109796"/>
                  <a:pt x="63119" y="112380"/>
                </a:cubicBezTo>
                <a:lnTo>
                  <a:pt x="63119" y="119026"/>
                </a:lnTo>
                <a:cubicBezTo>
                  <a:pt x="63119" y="121610"/>
                  <a:pt x="60833" y="123456"/>
                  <a:pt x="58166" y="123456"/>
                </a:cubicBezTo>
                <a:cubicBezTo>
                  <a:pt x="55880" y="123456"/>
                  <a:pt x="53975" y="121610"/>
                  <a:pt x="53975" y="119026"/>
                </a:cubicBezTo>
                <a:lnTo>
                  <a:pt x="53975" y="112380"/>
                </a:lnTo>
                <a:cubicBezTo>
                  <a:pt x="53975" y="109796"/>
                  <a:pt x="55880" y="107950"/>
                  <a:pt x="58166" y="107950"/>
                </a:cubicBezTo>
                <a:close/>
                <a:moveTo>
                  <a:pt x="58166" y="82550"/>
                </a:moveTo>
                <a:cubicBezTo>
                  <a:pt x="60833" y="82550"/>
                  <a:pt x="63119" y="84396"/>
                  <a:pt x="63119" y="86980"/>
                </a:cubicBezTo>
                <a:lnTo>
                  <a:pt x="63119" y="93626"/>
                </a:lnTo>
                <a:cubicBezTo>
                  <a:pt x="63119" y="95841"/>
                  <a:pt x="60833" y="98056"/>
                  <a:pt x="58166" y="98056"/>
                </a:cubicBezTo>
                <a:cubicBezTo>
                  <a:pt x="55880" y="98056"/>
                  <a:pt x="53975" y="95841"/>
                  <a:pt x="53975" y="93626"/>
                </a:cubicBezTo>
                <a:lnTo>
                  <a:pt x="53975" y="86980"/>
                </a:lnTo>
                <a:cubicBezTo>
                  <a:pt x="53975" y="84396"/>
                  <a:pt x="55880" y="82550"/>
                  <a:pt x="58166" y="82550"/>
                </a:cubicBezTo>
                <a:close/>
                <a:moveTo>
                  <a:pt x="178185" y="47840"/>
                </a:moveTo>
                <a:cubicBezTo>
                  <a:pt x="179629" y="46038"/>
                  <a:pt x="182878" y="46038"/>
                  <a:pt x="184322" y="47840"/>
                </a:cubicBezTo>
                <a:lnTo>
                  <a:pt x="238465" y="101911"/>
                </a:lnTo>
                <a:cubicBezTo>
                  <a:pt x="239909" y="103353"/>
                  <a:pt x="240270" y="104794"/>
                  <a:pt x="239187" y="106597"/>
                </a:cubicBezTo>
                <a:cubicBezTo>
                  <a:pt x="238826" y="108399"/>
                  <a:pt x="237382" y="109481"/>
                  <a:pt x="235577" y="109481"/>
                </a:cubicBezTo>
                <a:lnTo>
                  <a:pt x="212837" y="109481"/>
                </a:lnTo>
                <a:lnTo>
                  <a:pt x="212837" y="135074"/>
                </a:lnTo>
                <a:lnTo>
                  <a:pt x="223305" y="124260"/>
                </a:lnTo>
                <a:cubicBezTo>
                  <a:pt x="225110" y="122818"/>
                  <a:pt x="227636" y="122818"/>
                  <a:pt x="229441" y="124260"/>
                </a:cubicBezTo>
                <a:lnTo>
                  <a:pt x="283585" y="178691"/>
                </a:lnTo>
                <a:cubicBezTo>
                  <a:pt x="285028" y="179772"/>
                  <a:pt x="285389" y="181935"/>
                  <a:pt x="284667" y="183377"/>
                </a:cubicBezTo>
                <a:cubicBezTo>
                  <a:pt x="283945" y="184819"/>
                  <a:pt x="282502" y="185900"/>
                  <a:pt x="280697" y="185900"/>
                </a:cubicBezTo>
                <a:lnTo>
                  <a:pt x="257957" y="185900"/>
                </a:lnTo>
                <a:lnTo>
                  <a:pt x="257957" y="280703"/>
                </a:lnTo>
                <a:cubicBezTo>
                  <a:pt x="257957" y="283227"/>
                  <a:pt x="255791" y="285390"/>
                  <a:pt x="253625" y="285390"/>
                </a:cubicBezTo>
                <a:cubicBezTo>
                  <a:pt x="251459" y="285390"/>
                  <a:pt x="249294" y="283227"/>
                  <a:pt x="249294" y="280703"/>
                </a:cubicBezTo>
                <a:lnTo>
                  <a:pt x="249294" y="181935"/>
                </a:lnTo>
                <a:cubicBezTo>
                  <a:pt x="249294" y="179051"/>
                  <a:pt x="251459" y="177249"/>
                  <a:pt x="253625" y="177249"/>
                </a:cubicBezTo>
                <a:lnTo>
                  <a:pt x="270229" y="177249"/>
                </a:lnTo>
                <a:lnTo>
                  <a:pt x="226553" y="133632"/>
                </a:lnTo>
                <a:lnTo>
                  <a:pt x="182517" y="177249"/>
                </a:lnTo>
                <a:lnTo>
                  <a:pt x="199121" y="177249"/>
                </a:lnTo>
                <a:cubicBezTo>
                  <a:pt x="201648" y="177249"/>
                  <a:pt x="203813" y="179051"/>
                  <a:pt x="203813" y="181935"/>
                </a:cubicBezTo>
                <a:lnTo>
                  <a:pt x="203813" y="280703"/>
                </a:lnTo>
                <a:cubicBezTo>
                  <a:pt x="203813" y="283227"/>
                  <a:pt x="201648" y="285390"/>
                  <a:pt x="199121" y="285390"/>
                </a:cubicBezTo>
                <a:cubicBezTo>
                  <a:pt x="196955" y="285390"/>
                  <a:pt x="195150" y="283227"/>
                  <a:pt x="195150" y="280703"/>
                </a:cubicBezTo>
                <a:lnTo>
                  <a:pt x="195150" y="185900"/>
                </a:lnTo>
                <a:lnTo>
                  <a:pt x="172049" y="185900"/>
                </a:lnTo>
                <a:cubicBezTo>
                  <a:pt x="170605" y="185900"/>
                  <a:pt x="169162" y="184819"/>
                  <a:pt x="168079" y="183377"/>
                </a:cubicBezTo>
                <a:cubicBezTo>
                  <a:pt x="167718" y="181935"/>
                  <a:pt x="168079" y="179772"/>
                  <a:pt x="169162" y="178691"/>
                </a:cubicBezTo>
                <a:lnTo>
                  <a:pt x="204174" y="143725"/>
                </a:lnTo>
                <a:lnTo>
                  <a:pt x="204174" y="104794"/>
                </a:lnTo>
                <a:cubicBezTo>
                  <a:pt x="204174" y="102632"/>
                  <a:pt x="205979" y="100829"/>
                  <a:pt x="208506" y="100829"/>
                </a:cubicBezTo>
                <a:lnTo>
                  <a:pt x="225110" y="100829"/>
                </a:lnTo>
                <a:lnTo>
                  <a:pt x="181434" y="56852"/>
                </a:lnTo>
                <a:lnTo>
                  <a:pt x="137397" y="100829"/>
                </a:lnTo>
                <a:lnTo>
                  <a:pt x="154001" y="100829"/>
                </a:lnTo>
                <a:cubicBezTo>
                  <a:pt x="156528" y="100829"/>
                  <a:pt x="158333" y="102632"/>
                  <a:pt x="158333" y="104794"/>
                </a:cubicBezTo>
                <a:lnTo>
                  <a:pt x="158333" y="280703"/>
                </a:lnTo>
                <a:cubicBezTo>
                  <a:pt x="158333" y="283227"/>
                  <a:pt x="156528" y="285390"/>
                  <a:pt x="154001" y="285390"/>
                </a:cubicBezTo>
                <a:cubicBezTo>
                  <a:pt x="151836" y="285390"/>
                  <a:pt x="150031" y="283227"/>
                  <a:pt x="150031" y="280703"/>
                </a:cubicBezTo>
                <a:lnTo>
                  <a:pt x="150031" y="109481"/>
                </a:lnTo>
                <a:lnTo>
                  <a:pt x="126930" y="109481"/>
                </a:lnTo>
                <a:cubicBezTo>
                  <a:pt x="125125" y="109481"/>
                  <a:pt x="124042" y="108399"/>
                  <a:pt x="122959" y="106597"/>
                </a:cubicBezTo>
                <a:cubicBezTo>
                  <a:pt x="122237" y="104794"/>
                  <a:pt x="122598" y="103353"/>
                  <a:pt x="124042" y="101911"/>
                </a:cubicBezTo>
                <a:lnTo>
                  <a:pt x="178185" y="47840"/>
                </a:lnTo>
                <a:close/>
                <a:moveTo>
                  <a:pt x="134067" y="21786"/>
                </a:moveTo>
                <a:lnTo>
                  <a:pt x="96428" y="59649"/>
                </a:lnTo>
                <a:cubicBezTo>
                  <a:pt x="91051" y="65058"/>
                  <a:pt x="83881" y="68304"/>
                  <a:pt x="76353" y="68304"/>
                </a:cubicBezTo>
                <a:lnTo>
                  <a:pt x="60939" y="68304"/>
                </a:lnTo>
                <a:cubicBezTo>
                  <a:pt x="60222" y="69746"/>
                  <a:pt x="58788" y="70828"/>
                  <a:pt x="56638" y="70828"/>
                </a:cubicBezTo>
                <a:cubicBezTo>
                  <a:pt x="54845" y="70828"/>
                  <a:pt x="53411" y="69746"/>
                  <a:pt x="52695" y="68304"/>
                </a:cubicBezTo>
                <a:lnTo>
                  <a:pt x="27243" y="68304"/>
                </a:lnTo>
                <a:cubicBezTo>
                  <a:pt x="16848" y="68304"/>
                  <a:pt x="8603" y="76598"/>
                  <a:pt x="8603" y="87056"/>
                </a:cubicBezTo>
                <a:lnTo>
                  <a:pt x="8603" y="164586"/>
                </a:lnTo>
                <a:cubicBezTo>
                  <a:pt x="8603" y="168913"/>
                  <a:pt x="11829" y="172159"/>
                  <a:pt x="15772" y="172159"/>
                </a:cubicBezTo>
                <a:cubicBezTo>
                  <a:pt x="20074" y="172159"/>
                  <a:pt x="22942" y="168913"/>
                  <a:pt x="22942" y="164586"/>
                </a:cubicBezTo>
                <a:lnTo>
                  <a:pt x="22942" y="91022"/>
                </a:lnTo>
                <a:cubicBezTo>
                  <a:pt x="22942" y="88859"/>
                  <a:pt x="25092" y="86695"/>
                  <a:pt x="27243" y="86695"/>
                </a:cubicBezTo>
                <a:cubicBezTo>
                  <a:pt x="29753" y="86695"/>
                  <a:pt x="31903" y="88859"/>
                  <a:pt x="31903" y="91022"/>
                </a:cubicBezTo>
                <a:lnTo>
                  <a:pt x="31903" y="159177"/>
                </a:lnTo>
                <a:lnTo>
                  <a:pt x="82089" y="159177"/>
                </a:lnTo>
                <a:lnTo>
                  <a:pt x="82089" y="105086"/>
                </a:lnTo>
                <a:cubicBezTo>
                  <a:pt x="82089" y="98595"/>
                  <a:pt x="84598" y="92825"/>
                  <a:pt x="88900" y="88137"/>
                </a:cubicBezTo>
                <a:lnTo>
                  <a:pt x="144463" y="32243"/>
                </a:lnTo>
                <a:cubicBezTo>
                  <a:pt x="145897" y="30801"/>
                  <a:pt x="146614" y="28637"/>
                  <a:pt x="146614" y="26834"/>
                </a:cubicBezTo>
                <a:cubicBezTo>
                  <a:pt x="146614" y="25031"/>
                  <a:pt x="145897" y="23228"/>
                  <a:pt x="144463" y="21786"/>
                </a:cubicBezTo>
                <a:cubicBezTo>
                  <a:pt x="141595" y="18901"/>
                  <a:pt x="136935" y="18901"/>
                  <a:pt x="134067" y="21786"/>
                </a:cubicBezTo>
                <a:close/>
                <a:moveTo>
                  <a:pt x="139265" y="11058"/>
                </a:moveTo>
                <a:cubicBezTo>
                  <a:pt x="143387" y="11058"/>
                  <a:pt x="147510" y="12590"/>
                  <a:pt x="150557" y="15655"/>
                </a:cubicBezTo>
                <a:cubicBezTo>
                  <a:pt x="153424" y="18540"/>
                  <a:pt x="155217" y="22507"/>
                  <a:pt x="155217" y="26834"/>
                </a:cubicBezTo>
                <a:cubicBezTo>
                  <a:pt x="155217" y="31161"/>
                  <a:pt x="153424" y="35128"/>
                  <a:pt x="150557" y="38013"/>
                </a:cubicBezTo>
                <a:lnTo>
                  <a:pt x="94994" y="94268"/>
                </a:lnTo>
                <a:cubicBezTo>
                  <a:pt x="92126" y="97153"/>
                  <a:pt x="90692" y="101119"/>
                  <a:pt x="90692" y="105086"/>
                </a:cubicBezTo>
                <a:lnTo>
                  <a:pt x="90692" y="266277"/>
                </a:lnTo>
                <a:cubicBezTo>
                  <a:pt x="90692" y="276735"/>
                  <a:pt x="82089" y="285389"/>
                  <a:pt x="71693" y="285389"/>
                </a:cubicBezTo>
                <a:cubicBezTo>
                  <a:pt x="65599" y="285389"/>
                  <a:pt x="60222" y="282505"/>
                  <a:pt x="56638" y="278177"/>
                </a:cubicBezTo>
                <a:cubicBezTo>
                  <a:pt x="53411" y="282505"/>
                  <a:pt x="48034" y="285389"/>
                  <a:pt x="42299" y="285389"/>
                </a:cubicBezTo>
                <a:cubicBezTo>
                  <a:pt x="31903" y="285389"/>
                  <a:pt x="22942" y="276735"/>
                  <a:pt x="22942" y="266277"/>
                </a:cubicBezTo>
                <a:lnTo>
                  <a:pt x="22942" y="179010"/>
                </a:lnTo>
                <a:cubicBezTo>
                  <a:pt x="21149" y="180092"/>
                  <a:pt x="18640" y="180813"/>
                  <a:pt x="15772" y="180813"/>
                </a:cubicBezTo>
                <a:cubicBezTo>
                  <a:pt x="7169" y="180813"/>
                  <a:pt x="0" y="173601"/>
                  <a:pt x="0" y="164586"/>
                </a:cubicBezTo>
                <a:lnTo>
                  <a:pt x="0" y="87056"/>
                </a:lnTo>
                <a:cubicBezTo>
                  <a:pt x="0" y="71910"/>
                  <a:pt x="12188" y="59649"/>
                  <a:pt x="27243" y="59649"/>
                </a:cubicBezTo>
                <a:lnTo>
                  <a:pt x="76353" y="59649"/>
                </a:lnTo>
                <a:cubicBezTo>
                  <a:pt x="81730" y="59649"/>
                  <a:pt x="86390" y="57486"/>
                  <a:pt x="90334" y="53880"/>
                </a:cubicBezTo>
                <a:lnTo>
                  <a:pt x="127973" y="15655"/>
                </a:lnTo>
                <a:cubicBezTo>
                  <a:pt x="131020" y="12590"/>
                  <a:pt x="135143" y="11058"/>
                  <a:pt x="139265" y="11058"/>
                </a:cubicBezTo>
                <a:close/>
                <a:moveTo>
                  <a:pt x="57587" y="8559"/>
                </a:moveTo>
                <a:cubicBezTo>
                  <a:pt x="49028" y="8559"/>
                  <a:pt x="41896" y="15691"/>
                  <a:pt x="41896" y="24250"/>
                </a:cubicBezTo>
                <a:cubicBezTo>
                  <a:pt x="41896" y="33165"/>
                  <a:pt x="49028" y="39941"/>
                  <a:pt x="57587" y="39941"/>
                </a:cubicBezTo>
                <a:cubicBezTo>
                  <a:pt x="66502" y="39941"/>
                  <a:pt x="73634" y="33165"/>
                  <a:pt x="73634" y="24250"/>
                </a:cubicBezTo>
                <a:cubicBezTo>
                  <a:pt x="73634" y="15691"/>
                  <a:pt x="66502" y="8559"/>
                  <a:pt x="57587" y="8559"/>
                </a:cubicBezTo>
                <a:close/>
                <a:moveTo>
                  <a:pt x="57587" y="0"/>
                </a:moveTo>
                <a:cubicBezTo>
                  <a:pt x="71495" y="0"/>
                  <a:pt x="82193" y="10698"/>
                  <a:pt x="82193" y="24250"/>
                </a:cubicBezTo>
                <a:cubicBezTo>
                  <a:pt x="82193" y="37801"/>
                  <a:pt x="71495" y="48856"/>
                  <a:pt x="57587" y="48856"/>
                </a:cubicBezTo>
                <a:cubicBezTo>
                  <a:pt x="44392" y="48856"/>
                  <a:pt x="33337" y="37801"/>
                  <a:pt x="33337" y="24250"/>
                </a:cubicBezTo>
                <a:cubicBezTo>
                  <a:pt x="33337" y="10698"/>
                  <a:pt x="44392" y="0"/>
                  <a:pt x="57587" y="0"/>
                </a:cubicBezTo>
                <a:close/>
              </a:path>
            </a:pathLst>
          </a:custGeom>
          <a:solidFill>
            <a:schemeClr val="bg1"/>
          </a:solidFill>
          <a:ln>
            <a:noFill/>
          </a:ln>
          <a:effectLst/>
        </p:spPr>
        <p:txBody>
          <a:bodyPr anchor="ct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Rubik Light" panose="02000604000000020004" pitchFamily="2" charset="-79"/>
              <a:ea typeface="+mn-ea"/>
              <a:cs typeface="+mn-cs"/>
            </a:endParaRPr>
          </a:p>
        </p:txBody>
      </p:sp>
      <p:sp>
        <p:nvSpPr>
          <p:cNvPr id="4" name="Oval 3"/>
          <p:cNvSpPr/>
          <p:nvPr/>
        </p:nvSpPr>
        <p:spPr>
          <a:xfrm>
            <a:off x="5738648" y="1476703"/>
            <a:ext cx="141890" cy="14189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1</a:t>
            </a:r>
          </a:p>
        </p:txBody>
      </p:sp>
      <p:sp>
        <p:nvSpPr>
          <p:cNvPr id="34" name="Oval 33"/>
          <p:cNvSpPr/>
          <p:nvPr/>
        </p:nvSpPr>
        <p:spPr>
          <a:xfrm>
            <a:off x="6400800" y="3163613"/>
            <a:ext cx="141890" cy="14189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2</a:t>
            </a:r>
          </a:p>
        </p:txBody>
      </p:sp>
      <p:sp>
        <p:nvSpPr>
          <p:cNvPr id="35" name="Oval 34"/>
          <p:cNvSpPr/>
          <p:nvPr/>
        </p:nvSpPr>
        <p:spPr>
          <a:xfrm>
            <a:off x="1114096" y="5186853"/>
            <a:ext cx="141890" cy="14189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4</a:t>
            </a:r>
          </a:p>
        </p:txBody>
      </p:sp>
      <p:sp>
        <p:nvSpPr>
          <p:cNvPr id="36" name="Oval 35"/>
          <p:cNvSpPr/>
          <p:nvPr/>
        </p:nvSpPr>
        <p:spPr>
          <a:xfrm>
            <a:off x="462457" y="3132083"/>
            <a:ext cx="141890" cy="14189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5</a:t>
            </a:r>
          </a:p>
        </p:txBody>
      </p:sp>
      <p:sp>
        <p:nvSpPr>
          <p:cNvPr id="37" name="Oval 36"/>
          <p:cNvSpPr/>
          <p:nvPr/>
        </p:nvSpPr>
        <p:spPr>
          <a:xfrm>
            <a:off x="673735" y="1450427"/>
            <a:ext cx="141890" cy="14189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6</a:t>
            </a:r>
          </a:p>
        </p:txBody>
      </p:sp>
      <p:sp>
        <p:nvSpPr>
          <p:cNvPr id="51" name="TextBox 50">
            <a:extLst>
              <a:ext uri="{FF2B5EF4-FFF2-40B4-BE49-F238E27FC236}">
                <a16:creationId xmlns:a16="http://schemas.microsoft.com/office/drawing/2014/main" id="{3C525A95-E3FC-A64A-A1C0-26016B562A64}"/>
              </a:ext>
            </a:extLst>
          </p:cNvPr>
          <p:cNvSpPr txBox="1"/>
          <p:nvPr/>
        </p:nvSpPr>
        <p:spPr>
          <a:xfrm>
            <a:off x="6027683" y="1816387"/>
            <a:ext cx="2916621" cy="1061829"/>
          </a:xfrm>
          <a:prstGeom prst="rect">
            <a:avLst/>
          </a:prstGeom>
          <a:noFill/>
        </p:spPr>
        <p:txBody>
          <a:bodyPr wrap="square" rtlCol="0" anchor="t">
            <a:sp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We will continue to integrate student behaviour within our broader approaches to learning, wellbeing and mental health</a:t>
            </a:r>
            <a:r>
              <a:rPr kumimoji="0" lang="en-US"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 In providing tailored support across the Care Continuum, we will ensure that every child is known, valued and cared for.</a:t>
            </a:r>
            <a:endPar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endParaRPr>
          </a:p>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endParaRPr>
          </a:p>
        </p:txBody>
      </p:sp>
      <p:sp>
        <p:nvSpPr>
          <p:cNvPr id="52" name="TextBox 51">
            <a:extLst>
              <a:ext uri="{FF2B5EF4-FFF2-40B4-BE49-F238E27FC236}">
                <a16:creationId xmlns:a16="http://schemas.microsoft.com/office/drawing/2014/main" id="{BE5545FC-7A49-4940-A796-AB9369C3F134}"/>
              </a:ext>
            </a:extLst>
          </p:cNvPr>
          <p:cNvSpPr txBox="1"/>
          <p:nvPr/>
        </p:nvSpPr>
        <p:spPr>
          <a:xfrm>
            <a:off x="5785945" y="1388460"/>
            <a:ext cx="2816772" cy="400110"/>
          </a:xfrm>
          <a:prstGeom prst="rect">
            <a:avLst/>
          </a:prstGeom>
          <a:noFill/>
        </p:spPr>
        <p:txBody>
          <a:bodyPr wrap="square" rtlCol="0" anchor="ctr">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D428A"/>
                </a:solidFill>
                <a:effectLst/>
                <a:uLnTx/>
                <a:uFillTx/>
                <a:latin typeface="Montserrat Medium"/>
                <a:ea typeface="+mn-ea"/>
                <a:cs typeface="Poppins" pitchFamily="2" charset="77"/>
              </a:rPr>
              <a:t>Integrating behaviour with learning, wellbeing and mental health</a:t>
            </a:r>
          </a:p>
        </p:txBody>
      </p:sp>
      <p:sp>
        <p:nvSpPr>
          <p:cNvPr id="55" name="Oval 54"/>
          <p:cNvSpPr/>
          <p:nvPr/>
        </p:nvSpPr>
        <p:spPr>
          <a:xfrm>
            <a:off x="5365530" y="5270937"/>
            <a:ext cx="141890" cy="14189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3</a:t>
            </a:r>
          </a:p>
        </p:txBody>
      </p:sp>
      <p:sp>
        <p:nvSpPr>
          <p:cNvPr id="7" name="Rectangle 6"/>
          <p:cNvSpPr/>
          <p:nvPr/>
        </p:nvSpPr>
        <p:spPr>
          <a:xfrm>
            <a:off x="5534764" y="5220280"/>
            <a:ext cx="2323072" cy="246221"/>
          </a:xfrm>
          <a:prstGeom prst="rect">
            <a:avLst/>
          </a:prstGeom>
        </p:spPr>
        <p:txBody>
          <a:bodyPr wrap="none">
            <a:sp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6CACE4"/>
                </a:solidFill>
                <a:effectLst/>
                <a:uLnTx/>
                <a:uFillTx/>
                <a:latin typeface="Montserrat Medium"/>
                <a:ea typeface="+mn-ea"/>
                <a:cs typeface="Poppins" pitchFamily="2" charset="77"/>
              </a:rPr>
              <a:t>Continuing professional learning</a:t>
            </a:r>
          </a:p>
        </p:txBody>
      </p:sp>
      <p:sp>
        <p:nvSpPr>
          <p:cNvPr id="58" name="TextBox 57">
            <a:extLst>
              <a:ext uri="{FF2B5EF4-FFF2-40B4-BE49-F238E27FC236}">
                <a16:creationId xmlns:a16="http://schemas.microsoft.com/office/drawing/2014/main" id="{38ADAAE4-C3C3-464D-A05F-E5727080ADD9}"/>
              </a:ext>
            </a:extLst>
          </p:cNvPr>
          <p:cNvSpPr txBox="1"/>
          <p:nvPr/>
        </p:nvSpPr>
        <p:spPr>
          <a:xfrm>
            <a:off x="5488964" y="5521887"/>
            <a:ext cx="2414816" cy="507831"/>
          </a:xfrm>
          <a:prstGeom prst="rect">
            <a:avLst/>
          </a:prstGeom>
          <a:noFill/>
        </p:spPr>
        <p:txBody>
          <a:bodyPr wrap="square" rtlCol="0" anchor="t">
            <a:sp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We will build capacity across the</a:t>
            </a:r>
          </a:p>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workforce through embedded and</a:t>
            </a:r>
          </a:p>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continuing professional learning.</a:t>
            </a:r>
          </a:p>
        </p:txBody>
      </p:sp>
      <p:sp>
        <p:nvSpPr>
          <p:cNvPr id="61" name="TextBox 60">
            <a:extLst>
              <a:ext uri="{FF2B5EF4-FFF2-40B4-BE49-F238E27FC236}">
                <a16:creationId xmlns:a16="http://schemas.microsoft.com/office/drawing/2014/main" id="{38ADAAE4-C3C3-464D-A05F-E5727080ADD9}"/>
              </a:ext>
            </a:extLst>
          </p:cNvPr>
          <p:cNvSpPr txBox="1"/>
          <p:nvPr/>
        </p:nvSpPr>
        <p:spPr>
          <a:xfrm>
            <a:off x="1305847" y="5548163"/>
            <a:ext cx="2551450" cy="646331"/>
          </a:xfrm>
          <a:prstGeom prst="rect">
            <a:avLst/>
          </a:prstGeom>
          <a:noFill/>
        </p:spPr>
        <p:txBody>
          <a:bodyPr wrap="square" rtlCol="0" anchor="t">
            <a:sp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lumMod val="85000"/>
                    <a:lumOff val="15000"/>
                  </a:srgbClr>
                </a:solidFill>
                <a:effectLst/>
                <a:uLnTx/>
                <a:uFillTx/>
                <a:latin typeface="Montserrat Medium"/>
                <a:ea typeface="+mn-ea"/>
                <a:cs typeface="+mn-cs"/>
              </a:rPr>
              <a:t>We will support schools to contestably source specialist expertise based on cost and quality benchmarks to bring value for our teachers and students. </a:t>
            </a:r>
          </a:p>
        </p:txBody>
      </p:sp>
      <p:sp>
        <p:nvSpPr>
          <p:cNvPr id="63" name="Freeform 11">
            <a:extLst>
              <a:ext uri="{FF2B5EF4-FFF2-40B4-BE49-F238E27FC236}">
                <a16:creationId xmlns:a16="http://schemas.microsoft.com/office/drawing/2014/main" id="{73AB2D35-296A-9042-BD82-2B23E911CE90}"/>
              </a:ext>
            </a:extLst>
          </p:cNvPr>
          <p:cNvSpPr>
            <a:spLocks noChangeAspect="1" noChangeArrowheads="1"/>
          </p:cNvSpPr>
          <p:nvPr/>
        </p:nvSpPr>
        <p:spPr bwMode="auto">
          <a:xfrm>
            <a:off x="4388698" y="4452194"/>
            <a:ext cx="298915" cy="354245"/>
          </a:xfrm>
          <a:custGeom>
            <a:avLst/>
            <a:gdLst>
              <a:gd name="T0" fmla="*/ 2147483646 w 614"/>
              <a:gd name="T1" fmla="*/ 2147483646 h 810"/>
              <a:gd name="T2" fmla="*/ 2147483646 w 614"/>
              <a:gd name="T3" fmla="*/ 2147483646 h 810"/>
              <a:gd name="T4" fmla="*/ 2147483646 w 614"/>
              <a:gd name="T5" fmla="*/ 2147483646 h 810"/>
              <a:gd name="T6" fmla="*/ 2147483646 w 614"/>
              <a:gd name="T7" fmla="*/ 2147483646 h 810"/>
              <a:gd name="T8" fmla="*/ 2147483646 w 614"/>
              <a:gd name="T9" fmla="*/ 2147483646 h 810"/>
              <a:gd name="T10" fmla="*/ 2147483646 w 614"/>
              <a:gd name="T11" fmla="*/ 2147483646 h 810"/>
              <a:gd name="T12" fmla="*/ 2147483646 w 614"/>
              <a:gd name="T13" fmla="*/ 2147483646 h 810"/>
              <a:gd name="T14" fmla="*/ 2147483646 w 614"/>
              <a:gd name="T15" fmla="*/ 2147483646 h 810"/>
              <a:gd name="T16" fmla="*/ 2147483646 w 614"/>
              <a:gd name="T17" fmla="*/ 2147483646 h 810"/>
              <a:gd name="T18" fmla="*/ 2147483646 w 614"/>
              <a:gd name="T19" fmla="*/ 2147483646 h 810"/>
              <a:gd name="T20" fmla="*/ 2147483646 w 614"/>
              <a:gd name="T21" fmla="*/ 2147483646 h 810"/>
              <a:gd name="T22" fmla="*/ 2147483646 w 614"/>
              <a:gd name="T23" fmla="*/ 2147483646 h 810"/>
              <a:gd name="T24" fmla="*/ 2147483646 w 614"/>
              <a:gd name="T25" fmla="*/ 2147483646 h 810"/>
              <a:gd name="T26" fmla="*/ 2147483646 w 614"/>
              <a:gd name="T27" fmla="*/ 2147483646 h 810"/>
              <a:gd name="T28" fmla="*/ 2147483646 w 614"/>
              <a:gd name="T29" fmla="*/ 2147483646 h 810"/>
              <a:gd name="T30" fmla="*/ 2147483646 w 614"/>
              <a:gd name="T31" fmla="*/ 2147483646 h 810"/>
              <a:gd name="T32" fmla="*/ 2147483646 w 614"/>
              <a:gd name="T33" fmla="*/ 2147483646 h 810"/>
              <a:gd name="T34" fmla="*/ 2147483646 w 614"/>
              <a:gd name="T35" fmla="*/ 2147483646 h 810"/>
              <a:gd name="T36" fmla="*/ 2147483646 w 614"/>
              <a:gd name="T37" fmla="*/ 2147483646 h 810"/>
              <a:gd name="T38" fmla="*/ 2147483646 w 614"/>
              <a:gd name="T39" fmla="*/ 2147483646 h 810"/>
              <a:gd name="T40" fmla="*/ 2147483646 w 614"/>
              <a:gd name="T41" fmla="*/ 2147483646 h 810"/>
              <a:gd name="T42" fmla="*/ 2147483646 w 614"/>
              <a:gd name="T43" fmla="*/ 2147483646 h 810"/>
              <a:gd name="T44" fmla="*/ 2147483646 w 614"/>
              <a:gd name="T45" fmla="*/ 2147483646 h 810"/>
              <a:gd name="T46" fmla="*/ 2147483646 w 614"/>
              <a:gd name="T47" fmla="*/ 2147483646 h 810"/>
              <a:gd name="T48" fmla="*/ 2147483646 w 614"/>
              <a:gd name="T49" fmla="*/ 2147483646 h 810"/>
              <a:gd name="T50" fmla="*/ 2147483646 w 614"/>
              <a:gd name="T51" fmla="*/ 2147483646 h 810"/>
              <a:gd name="T52" fmla="*/ 2147483646 w 614"/>
              <a:gd name="T53" fmla="*/ 2147483646 h 810"/>
              <a:gd name="T54" fmla="*/ 2147483646 w 614"/>
              <a:gd name="T55" fmla="*/ 2147483646 h 810"/>
              <a:gd name="T56" fmla="*/ 2147483646 w 614"/>
              <a:gd name="T57" fmla="*/ 2147483646 h 810"/>
              <a:gd name="T58" fmla="*/ 2147483646 w 614"/>
              <a:gd name="T59" fmla="*/ 2147483646 h 810"/>
              <a:gd name="T60" fmla="*/ 2147483646 w 614"/>
              <a:gd name="T61" fmla="*/ 2147483646 h 810"/>
              <a:gd name="T62" fmla="*/ 2147483646 w 614"/>
              <a:gd name="T63" fmla="*/ 2147483646 h 810"/>
              <a:gd name="T64" fmla="*/ 2147483646 w 614"/>
              <a:gd name="T65" fmla="*/ 2147483646 h 810"/>
              <a:gd name="T66" fmla="*/ 2147483646 w 614"/>
              <a:gd name="T67" fmla="*/ 2147483646 h 810"/>
              <a:gd name="T68" fmla="*/ 2147483646 w 614"/>
              <a:gd name="T69" fmla="*/ 2147483646 h 810"/>
              <a:gd name="T70" fmla="*/ 2147483646 w 614"/>
              <a:gd name="T71" fmla="*/ 2147483646 h 810"/>
              <a:gd name="T72" fmla="*/ 2147483646 w 614"/>
              <a:gd name="T73" fmla="*/ 2147483646 h 810"/>
              <a:gd name="T74" fmla="*/ 2147483646 w 614"/>
              <a:gd name="T75" fmla="*/ 2147483646 h 810"/>
              <a:gd name="T76" fmla="*/ 2147483646 w 614"/>
              <a:gd name="T77" fmla="*/ 2147483646 h 810"/>
              <a:gd name="T78" fmla="*/ 2147483646 w 614"/>
              <a:gd name="T79" fmla="*/ 2147483646 h 810"/>
              <a:gd name="T80" fmla="*/ 2147483646 w 614"/>
              <a:gd name="T81" fmla="*/ 2147483646 h 810"/>
              <a:gd name="T82" fmla="*/ 2147483646 w 614"/>
              <a:gd name="T83" fmla="*/ 2147483646 h 810"/>
              <a:gd name="T84" fmla="*/ 2147483646 w 614"/>
              <a:gd name="T85" fmla="*/ 2147483646 h 810"/>
              <a:gd name="T86" fmla="*/ 2147483646 w 614"/>
              <a:gd name="T87" fmla="*/ 0 h 810"/>
              <a:gd name="T88" fmla="*/ 2147483646 w 614"/>
              <a:gd name="T89" fmla="*/ 2147483646 h 810"/>
              <a:gd name="T90" fmla="*/ 2147483646 w 614"/>
              <a:gd name="T91" fmla="*/ 2147483646 h 810"/>
              <a:gd name="T92" fmla="*/ 2147483646 w 614"/>
              <a:gd name="T93" fmla="*/ 2147483646 h 810"/>
              <a:gd name="T94" fmla="*/ 2147483646 w 614"/>
              <a:gd name="T95" fmla="*/ 2147483646 h 810"/>
              <a:gd name="T96" fmla="*/ 2147483646 w 614"/>
              <a:gd name="T97" fmla="*/ 2147483646 h 810"/>
              <a:gd name="T98" fmla="*/ 2147483646 w 614"/>
              <a:gd name="T99" fmla="*/ 2147483646 h 8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14" h="810">
                <a:moveTo>
                  <a:pt x="507" y="505"/>
                </a:moveTo>
                <a:lnTo>
                  <a:pt x="507" y="505"/>
                </a:lnTo>
                <a:cubicBezTo>
                  <a:pt x="485" y="527"/>
                  <a:pt x="470" y="553"/>
                  <a:pt x="462" y="582"/>
                </a:cubicBezTo>
                <a:lnTo>
                  <a:pt x="318" y="582"/>
                </a:lnTo>
                <a:lnTo>
                  <a:pt x="318" y="495"/>
                </a:lnTo>
                <a:cubicBezTo>
                  <a:pt x="327" y="500"/>
                  <a:pt x="337" y="502"/>
                  <a:pt x="348" y="502"/>
                </a:cubicBezTo>
                <a:cubicBezTo>
                  <a:pt x="368" y="502"/>
                  <a:pt x="387" y="494"/>
                  <a:pt x="400" y="478"/>
                </a:cubicBezTo>
                <a:cubicBezTo>
                  <a:pt x="412" y="463"/>
                  <a:pt x="418" y="443"/>
                  <a:pt x="414" y="423"/>
                </a:cubicBezTo>
                <a:cubicBezTo>
                  <a:pt x="409" y="396"/>
                  <a:pt x="387" y="373"/>
                  <a:pt x="359" y="369"/>
                </a:cubicBezTo>
                <a:cubicBezTo>
                  <a:pt x="344" y="366"/>
                  <a:pt x="330" y="369"/>
                  <a:pt x="318" y="375"/>
                </a:cubicBezTo>
                <a:lnTo>
                  <a:pt x="318" y="319"/>
                </a:lnTo>
                <a:lnTo>
                  <a:pt x="435" y="319"/>
                </a:lnTo>
                <a:cubicBezTo>
                  <a:pt x="439" y="319"/>
                  <a:pt x="442" y="317"/>
                  <a:pt x="445" y="314"/>
                </a:cubicBezTo>
                <a:cubicBezTo>
                  <a:pt x="447" y="311"/>
                  <a:pt x="448" y="307"/>
                  <a:pt x="447" y="303"/>
                </a:cubicBezTo>
                <a:cubicBezTo>
                  <a:pt x="447" y="301"/>
                  <a:pt x="445" y="299"/>
                  <a:pt x="443" y="297"/>
                </a:cubicBezTo>
                <a:cubicBezTo>
                  <a:pt x="432" y="287"/>
                  <a:pt x="427" y="274"/>
                  <a:pt x="428" y="260"/>
                </a:cubicBezTo>
                <a:cubicBezTo>
                  <a:pt x="430" y="240"/>
                  <a:pt x="447" y="224"/>
                  <a:pt x="466" y="222"/>
                </a:cubicBezTo>
                <a:cubicBezTo>
                  <a:pt x="478" y="220"/>
                  <a:pt x="490" y="224"/>
                  <a:pt x="499" y="232"/>
                </a:cubicBezTo>
                <a:cubicBezTo>
                  <a:pt x="508" y="240"/>
                  <a:pt x="513" y="252"/>
                  <a:pt x="513" y="264"/>
                </a:cubicBezTo>
                <a:cubicBezTo>
                  <a:pt x="513" y="277"/>
                  <a:pt x="508" y="289"/>
                  <a:pt x="498" y="297"/>
                </a:cubicBezTo>
                <a:cubicBezTo>
                  <a:pt x="494" y="300"/>
                  <a:pt x="493" y="306"/>
                  <a:pt x="495" y="310"/>
                </a:cubicBezTo>
                <a:cubicBezTo>
                  <a:pt x="497" y="316"/>
                  <a:pt x="501" y="319"/>
                  <a:pt x="506" y="319"/>
                </a:cubicBezTo>
                <a:lnTo>
                  <a:pt x="588" y="319"/>
                </a:lnTo>
                <a:cubicBezTo>
                  <a:pt x="584" y="389"/>
                  <a:pt x="556" y="454"/>
                  <a:pt x="507" y="505"/>
                </a:cubicBezTo>
                <a:close/>
                <a:moveTo>
                  <a:pt x="457" y="628"/>
                </a:moveTo>
                <a:lnTo>
                  <a:pt x="457" y="712"/>
                </a:lnTo>
                <a:cubicBezTo>
                  <a:pt x="457" y="714"/>
                  <a:pt x="455" y="716"/>
                  <a:pt x="452" y="716"/>
                </a:cubicBezTo>
                <a:lnTo>
                  <a:pt x="158" y="716"/>
                </a:lnTo>
                <a:cubicBezTo>
                  <a:pt x="156" y="716"/>
                  <a:pt x="154" y="714"/>
                  <a:pt x="154" y="712"/>
                </a:cubicBezTo>
                <a:lnTo>
                  <a:pt x="154" y="674"/>
                </a:lnTo>
                <a:lnTo>
                  <a:pt x="404" y="674"/>
                </a:lnTo>
                <a:cubicBezTo>
                  <a:pt x="410" y="674"/>
                  <a:pt x="416" y="669"/>
                  <a:pt x="416" y="662"/>
                </a:cubicBezTo>
                <a:cubicBezTo>
                  <a:pt x="416" y="655"/>
                  <a:pt x="410" y="650"/>
                  <a:pt x="404" y="650"/>
                </a:cubicBezTo>
                <a:lnTo>
                  <a:pt x="154" y="650"/>
                </a:lnTo>
                <a:lnTo>
                  <a:pt x="154" y="625"/>
                </a:lnTo>
                <a:cubicBezTo>
                  <a:pt x="154" y="619"/>
                  <a:pt x="154" y="613"/>
                  <a:pt x="154" y="607"/>
                </a:cubicBezTo>
                <a:lnTo>
                  <a:pt x="458" y="607"/>
                </a:lnTo>
                <a:cubicBezTo>
                  <a:pt x="457" y="614"/>
                  <a:pt x="457" y="621"/>
                  <a:pt x="457" y="628"/>
                </a:cubicBezTo>
                <a:lnTo>
                  <a:pt x="368" y="784"/>
                </a:lnTo>
                <a:lnTo>
                  <a:pt x="243" y="784"/>
                </a:lnTo>
                <a:cubicBezTo>
                  <a:pt x="216" y="784"/>
                  <a:pt x="194" y="765"/>
                  <a:pt x="188" y="740"/>
                </a:cubicBezTo>
                <a:lnTo>
                  <a:pt x="422" y="740"/>
                </a:lnTo>
                <a:cubicBezTo>
                  <a:pt x="417" y="765"/>
                  <a:pt x="394" y="784"/>
                  <a:pt x="368" y="784"/>
                </a:cubicBezTo>
                <a:lnTo>
                  <a:pt x="457" y="628"/>
                </a:lnTo>
                <a:close/>
                <a:moveTo>
                  <a:pt x="105" y="503"/>
                </a:moveTo>
                <a:lnTo>
                  <a:pt x="105" y="503"/>
                </a:lnTo>
                <a:cubicBezTo>
                  <a:pt x="56" y="453"/>
                  <a:pt x="28" y="388"/>
                  <a:pt x="25" y="319"/>
                </a:cubicBezTo>
                <a:lnTo>
                  <a:pt x="141" y="319"/>
                </a:lnTo>
                <a:cubicBezTo>
                  <a:pt x="148" y="319"/>
                  <a:pt x="153" y="314"/>
                  <a:pt x="154" y="308"/>
                </a:cubicBezTo>
                <a:cubicBezTo>
                  <a:pt x="154" y="304"/>
                  <a:pt x="152" y="300"/>
                  <a:pt x="149" y="297"/>
                </a:cubicBezTo>
                <a:cubicBezTo>
                  <a:pt x="138" y="287"/>
                  <a:pt x="132" y="272"/>
                  <a:pt x="135" y="257"/>
                </a:cubicBezTo>
                <a:cubicBezTo>
                  <a:pt x="137" y="239"/>
                  <a:pt x="152" y="225"/>
                  <a:pt x="169" y="222"/>
                </a:cubicBezTo>
                <a:cubicBezTo>
                  <a:pt x="182" y="219"/>
                  <a:pt x="195" y="223"/>
                  <a:pt x="204" y="231"/>
                </a:cubicBezTo>
                <a:cubicBezTo>
                  <a:pt x="214" y="239"/>
                  <a:pt x="220" y="252"/>
                  <a:pt x="220" y="264"/>
                </a:cubicBezTo>
                <a:cubicBezTo>
                  <a:pt x="220" y="277"/>
                  <a:pt x="214" y="289"/>
                  <a:pt x="204" y="297"/>
                </a:cubicBezTo>
                <a:cubicBezTo>
                  <a:pt x="200" y="300"/>
                  <a:pt x="199" y="306"/>
                  <a:pt x="200" y="310"/>
                </a:cubicBezTo>
                <a:cubicBezTo>
                  <a:pt x="202" y="316"/>
                  <a:pt x="207" y="319"/>
                  <a:pt x="212" y="319"/>
                </a:cubicBezTo>
                <a:lnTo>
                  <a:pt x="293" y="319"/>
                </a:lnTo>
                <a:lnTo>
                  <a:pt x="293" y="400"/>
                </a:lnTo>
                <a:cubicBezTo>
                  <a:pt x="293" y="403"/>
                  <a:pt x="295" y="406"/>
                  <a:pt x="297" y="409"/>
                </a:cubicBezTo>
                <a:cubicBezTo>
                  <a:pt x="300" y="411"/>
                  <a:pt x="303" y="412"/>
                  <a:pt x="306" y="412"/>
                </a:cubicBezTo>
                <a:cubicBezTo>
                  <a:pt x="310" y="411"/>
                  <a:pt x="313" y="410"/>
                  <a:pt x="315" y="407"/>
                </a:cubicBezTo>
                <a:cubicBezTo>
                  <a:pt x="325" y="396"/>
                  <a:pt x="340" y="390"/>
                  <a:pt x="355" y="393"/>
                </a:cubicBezTo>
                <a:cubicBezTo>
                  <a:pt x="373" y="396"/>
                  <a:pt x="387" y="410"/>
                  <a:pt x="390" y="427"/>
                </a:cubicBezTo>
                <a:cubicBezTo>
                  <a:pt x="392" y="440"/>
                  <a:pt x="389" y="452"/>
                  <a:pt x="381" y="462"/>
                </a:cubicBezTo>
                <a:cubicBezTo>
                  <a:pt x="364" y="482"/>
                  <a:pt x="331" y="482"/>
                  <a:pt x="315" y="462"/>
                </a:cubicBezTo>
                <a:cubicBezTo>
                  <a:pt x="311" y="458"/>
                  <a:pt x="306" y="457"/>
                  <a:pt x="301" y="459"/>
                </a:cubicBezTo>
                <a:cubicBezTo>
                  <a:pt x="296" y="461"/>
                  <a:pt x="293" y="465"/>
                  <a:pt x="293" y="470"/>
                </a:cubicBezTo>
                <a:lnTo>
                  <a:pt x="293" y="582"/>
                </a:lnTo>
                <a:lnTo>
                  <a:pt x="149" y="582"/>
                </a:lnTo>
                <a:cubicBezTo>
                  <a:pt x="142" y="553"/>
                  <a:pt x="126" y="525"/>
                  <a:pt x="105" y="503"/>
                </a:cubicBezTo>
                <a:lnTo>
                  <a:pt x="293" y="25"/>
                </a:lnTo>
                <a:lnTo>
                  <a:pt x="293" y="105"/>
                </a:lnTo>
                <a:cubicBezTo>
                  <a:pt x="293" y="110"/>
                  <a:pt x="296" y="114"/>
                  <a:pt x="299" y="116"/>
                </a:cubicBezTo>
                <a:cubicBezTo>
                  <a:pt x="303" y="118"/>
                  <a:pt x="308" y="118"/>
                  <a:pt x="311" y="116"/>
                </a:cubicBezTo>
                <a:cubicBezTo>
                  <a:pt x="313" y="115"/>
                  <a:pt x="314" y="114"/>
                  <a:pt x="315" y="114"/>
                </a:cubicBezTo>
                <a:cubicBezTo>
                  <a:pt x="324" y="103"/>
                  <a:pt x="337" y="97"/>
                  <a:pt x="352" y="98"/>
                </a:cubicBezTo>
                <a:cubicBezTo>
                  <a:pt x="372" y="100"/>
                  <a:pt x="388" y="117"/>
                  <a:pt x="390" y="136"/>
                </a:cubicBezTo>
                <a:cubicBezTo>
                  <a:pt x="392" y="148"/>
                  <a:pt x="388" y="161"/>
                  <a:pt x="380" y="169"/>
                </a:cubicBezTo>
                <a:cubicBezTo>
                  <a:pt x="363" y="188"/>
                  <a:pt x="331" y="188"/>
                  <a:pt x="315" y="168"/>
                </a:cubicBezTo>
                <a:cubicBezTo>
                  <a:pt x="311" y="165"/>
                  <a:pt x="306" y="163"/>
                  <a:pt x="301" y="165"/>
                </a:cubicBezTo>
                <a:cubicBezTo>
                  <a:pt x="296" y="166"/>
                  <a:pt x="293" y="171"/>
                  <a:pt x="293" y="176"/>
                </a:cubicBezTo>
                <a:lnTo>
                  <a:pt x="293" y="294"/>
                </a:lnTo>
                <a:lnTo>
                  <a:pt x="237" y="294"/>
                </a:lnTo>
                <a:cubicBezTo>
                  <a:pt x="242" y="285"/>
                  <a:pt x="244" y="275"/>
                  <a:pt x="244" y="264"/>
                </a:cubicBezTo>
                <a:cubicBezTo>
                  <a:pt x="244" y="244"/>
                  <a:pt x="235" y="225"/>
                  <a:pt x="220" y="212"/>
                </a:cubicBezTo>
                <a:cubicBezTo>
                  <a:pt x="205" y="199"/>
                  <a:pt x="185" y="194"/>
                  <a:pt x="165" y="198"/>
                </a:cubicBezTo>
                <a:cubicBezTo>
                  <a:pt x="137" y="202"/>
                  <a:pt x="115" y="225"/>
                  <a:pt x="110" y="253"/>
                </a:cubicBezTo>
                <a:cubicBezTo>
                  <a:pt x="108" y="268"/>
                  <a:pt x="110" y="282"/>
                  <a:pt x="116" y="294"/>
                </a:cubicBezTo>
                <a:lnTo>
                  <a:pt x="25" y="294"/>
                </a:lnTo>
                <a:cubicBezTo>
                  <a:pt x="32" y="149"/>
                  <a:pt x="148" y="32"/>
                  <a:pt x="293" y="25"/>
                </a:cubicBezTo>
                <a:lnTo>
                  <a:pt x="105" y="503"/>
                </a:lnTo>
                <a:close/>
                <a:moveTo>
                  <a:pt x="318" y="25"/>
                </a:moveTo>
                <a:lnTo>
                  <a:pt x="318" y="25"/>
                </a:lnTo>
                <a:cubicBezTo>
                  <a:pt x="464" y="31"/>
                  <a:pt x="582" y="148"/>
                  <a:pt x="588" y="294"/>
                </a:cubicBezTo>
                <a:lnTo>
                  <a:pt x="531" y="294"/>
                </a:lnTo>
                <a:cubicBezTo>
                  <a:pt x="536" y="285"/>
                  <a:pt x="538" y="275"/>
                  <a:pt x="538" y="264"/>
                </a:cubicBezTo>
                <a:cubicBezTo>
                  <a:pt x="538" y="245"/>
                  <a:pt x="530" y="226"/>
                  <a:pt x="516" y="214"/>
                </a:cubicBezTo>
                <a:cubicBezTo>
                  <a:pt x="502" y="201"/>
                  <a:pt x="482" y="195"/>
                  <a:pt x="463" y="197"/>
                </a:cubicBezTo>
                <a:cubicBezTo>
                  <a:pt x="432" y="200"/>
                  <a:pt x="407" y="226"/>
                  <a:pt x="404" y="258"/>
                </a:cubicBezTo>
                <a:cubicBezTo>
                  <a:pt x="402" y="270"/>
                  <a:pt x="405" y="283"/>
                  <a:pt x="411" y="294"/>
                </a:cubicBezTo>
                <a:lnTo>
                  <a:pt x="318" y="294"/>
                </a:lnTo>
                <a:lnTo>
                  <a:pt x="318" y="201"/>
                </a:lnTo>
                <a:cubicBezTo>
                  <a:pt x="343" y="214"/>
                  <a:pt x="378" y="208"/>
                  <a:pt x="398" y="186"/>
                </a:cubicBezTo>
                <a:cubicBezTo>
                  <a:pt x="411" y="172"/>
                  <a:pt x="417" y="152"/>
                  <a:pt x="415" y="134"/>
                </a:cubicBezTo>
                <a:cubicBezTo>
                  <a:pt x="411" y="102"/>
                  <a:pt x="386" y="77"/>
                  <a:pt x="354" y="74"/>
                </a:cubicBezTo>
                <a:cubicBezTo>
                  <a:pt x="341" y="73"/>
                  <a:pt x="329" y="75"/>
                  <a:pt x="318" y="81"/>
                </a:cubicBezTo>
                <a:lnTo>
                  <a:pt x="318" y="25"/>
                </a:lnTo>
                <a:close/>
                <a:moveTo>
                  <a:pt x="307" y="0"/>
                </a:moveTo>
                <a:lnTo>
                  <a:pt x="307" y="0"/>
                </a:lnTo>
                <a:cubicBezTo>
                  <a:pt x="138" y="0"/>
                  <a:pt x="0" y="138"/>
                  <a:pt x="0" y="306"/>
                </a:cubicBezTo>
                <a:cubicBezTo>
                  <a:pt x="0" y="387"/>
                  <a:pt x="31" y="463"/>
                  <a:pt x="87" y="521"/>
                </a:cubicBezTo>
                <a:cubicBezTo>
                  <a:pt x="115" y="548"/>
                  <a:pt x="130" y="585"/>
                  <a:pt x="130" y="625"/>
                </a:cubicBezTo>
                <a:lnTo>
                  <a:pt x="130" y="712"/>
                </a:lnTo>
                <a:cubicBezTo>
                  <a:pt x="130" y="727"/>
                  <a:pt x="142" y="740"/>
                  <a:pt x="158" y="740"/>
                </a:cubicBezTo>
                <a:lnTo>
                  <a:pt x="164" y="740"/>
                </a:lnTo>
                <a:cubicBezTo>
                  <a:pt x="169" y="779"/>
                  <a:pt x="203" y="809"/>
                  <a:pt x="243" y="809"/>
                </a:cubicBezTo>
                <a:lnTo>
                  <a:pt x="368" y="809"/>
                </a:lnTo>
                <a:cubicBezTo>
                  <a:pt x="408" y="809"/>
                  <a:pt x="441" y="779"/>
                  <a:pt x="447" y="740"/>
                </a:cubicBezTo>
                <a:lnTo>
                  <a:pt x="452" y="740"/>
                </a:lnTo>
                <a:cubicBezTo>
                  <a:pt x="468" y="740"/>
                  <a:pt x="481" y="727"/>
                  <a:pt x="481" y="712"/>
                </a:cubicBezTo>
                <a:lnTo>
                  <a:pt x="481" y="628"/>
                </a:lnTo>
                <a:cubicBezTo>
                  <a:pt x="481" y="588"/>
                  <a:pt x="497" y="550"/>
                  <a:pt x="524" y="522"/>
                </a:cubicBezTo>
                <a:cubicBezTo>
                  <a:pt x="582" y="464"/>
                  <a:pt x="613" y="387"/>
                  <a:pt x="613" y="306"/>
                </a:cubicBezTo>
                <a:cubicBezTo>
                  <a:pt x="613" y="138"/>
                  <a:pt x="475" y="0"/>
                  <a:pt x="307" y="0"/>
                </a:cubicBezTo>
                <a:close/>
              </a:path>
            </a:pathLst>
          </a:custGeom>
          <a:solidFill>
            <a:schemeClr val="bg1"/>
          </a:solidFill>
          <a:ln>
            <a:noFill/>
          </a:ln>
          <a:effectLst/>
        </p:spPr>
        <p:txBody>
          <a:bodyPr wrap="none" anchor="ct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Medium"/>
              <a:ea typeface="+mn-ea"/>
              <a:cs typeface="+mn-cs"/>
            </a:endParaRPr>
          </a:p>
        </p:txBody>
      </p:sp>
      <p:sp>
        <p:nvSpPr>
          <p:cNvPr id="64" name="Freeform 436">
            <a:extLst>
              <a:ext uri="{FF2B5EF4-FFF2-40B4-BE49-F238E27FC236}">
                <a16:creationId xmlns:a16="http://schemas.microsoft.com/office/drawing/2014/main" id="{48418962-FD5E-154E-ABC7-55D42C1796F4}"/>
              </a:ext>
            </a:extLst>
          </p:cNvPr>
          <p:cNvSpPr>
            <a:spLocks noChangeArrowheads="1"/>
          </p:cNvSpPr>
          <p:nvPr/>
        </p:nvSpPr>
        <p:spPr bwMode="auto">
          <a:xfrm>
            <a:off x="5270938" y="2532993"/>
            <a:ext cx="373116" cy="289035"/>
          </a:xfrm>
          <a:custGeom>
            <a:avLst/>
            <a:gdLst>
              <a:gd name="T0" fmla="*/ 266063 w 308859"/>
              <a:gd name="T1" fmla="*/ 92507 h 288564"/>
              <a:gd name="T2" fmla="*/ 257458 w 308859"/>
              <a:gd name="T3" fmla="*/ 141702 h 288564"/>
              <a:gd name="T4" fmla="*/ 268573 w 308859"/>
              <a:gd name="T5" fmla="*/ 146766 h 288564"/>
              <a:gd name="T6" fmla="*/ 276102 w 308859"/>
              <a:gd name="T7" fmla="*/ 90337 h 288564"/>
              <a:gd name="T8" fmla="*/ 37831 w 308859"/>
              <a:gd name="T9" fmla="*/ 88889 h 288564"/>
              <a:gd name="T10" fmla="*/ 32454 w 308859"/>
              <a:gd name="T11" fmla="*/ 99379 h 288564"/>
              <a:gd name="T12" fmla="*/ 41776 w 308859"/>
              <a:gd name="T13" fmla="*/ 145319 h 288564"/>
              <a:gd name="T14" fmla="*/ 45720 w 308859"/>
              <a:gd name="T15" fmla="*/ 110955 h 288564"/>
              <a:gd name="T16" fmla="*/ 37831 w 308859"/>
              <a:gd name="T17" fmla="*/ 88889 h 288564"/>
              <a:gd name="T18" fmla="*/ 295823 w 308859"/>
              <a:gd name="T19" fmla="*/ 74059 h 288564"/>
              <a:gd name="T20" fmla="*/ 248136 w 308859"/>
              <a:gd name="T21" fmla="*/ 278796 h 288564"/>
              <a:gd name="T22" fmla="*/ 232718 w 308859"/>
              <a:gd name="T23" fmla="*/ 288925 h 288564"/>
              <a:gd name="T24" fmla="*/ 231284 w 308859"/>
              <a:gd name="T25" fmla="*/ 279882 h 288564"/>
              <a:gd name="T26" fmla="*/ 295106 w 308859"/>
              <a:gd name="T27" fmla="*/ 91784 h 288564"/>
              <a:gd name="T28" fmla="*/ 287577 w 308859"/>
              <a:gd name="T29" fmla="*/ 82379 h 288564"/>
              <a:gd name="T30" fmla="*/ 273593 w 308859"/>
              <a:gd name="T31" fmla="*/ 164491 h 288564"/>
              <a:gd name="T32" fmla="*/ 241682 w 308859"/>
              <a:gd name="T33" fmla="*/ 223091 h 288564"/>
              <a:gd name="T34" fmla="*/ 238097 w 308859"/>
              <a:gd name="T35" fmla="*/ 215494 h 288564"/>
              <a:gd name="T36" fmla="*/ 261403 w 308859"/>
              <a:gd name="T37" fmla="*/ 153639 h 288564"/>
              <a:gd name="T38" fmla="*/ 245985 w 308859"/>
              <a:gd name="T39" fmla="*/ 156171 h 288564"/>
              <a:gd name="T40" fmla="*/ 187183 w 308859"/>
              <a:gd name="T41" fmla="*/ 232134 h 288564"/>
              <a:gd name="T42" fmla="*/ 180728 w 308859"/>
              <a:gd name="T43" fmla="*/ 259625 h 288564"/>
              <a:gd name="T44" fmla="*/ 174992 w 308859"/>
              <a:gd name="T45" fmla="*/ 256369 h 288564"/>
              <a:gd name="T46" fmla="*/ 208696 w 308859"/>
              <a:gd name="T47" fmla="*/ 192706 h 288564"/>
              <a:gd name="T48" fmla="*/ 247778 w 308859"/>
              <a:gd name="T49" fmla="*/ 142425 h 288564"/>
              <a:gd name="T50" fmla="*/ 257458 w 308859"/>
              <a:gd name="T51" fmla="*/ 88528 h 288564"/>
              <a:gd name="T52" fmla="*/ 277895 w 308859"/>
              <a:gd name="T53" fmla="*/ 80931 h 288564"/>
              <a:gd name="T54" fmla="*/ 12374 w 308859"/>
              <a:gd name="T55" fmla="*/ 74059 h 288564"/>
              <a:gd name="T56" fmla="*/ 29944 w 308859"/>
              <a:gd name="T57" fmla="*/ 80931 h 288564"/>
              <a:gd name="T58" fmla="*/ 50381 w 308859"/>
              <a:gd name="T59" fmla="*/ 88528 h 288564"/>
              <a:gd name="T60" fmla="*/ 60062 w 308859"/>
              <a:gd name="T61" fmla="*/ 142425 h 288564"/>
              <a:gd name="T62" fmla="*/ 99143 w 308859"/>
              <a:gd name="T63" fmla="*/ 192706 h 288564"/>
              <a:gd name="T64" fmla="*/ 133207 w 308859"/>
              <a:gd name="T65" fmla="*/ 256369 h 288564"/>
              <a:gd name="T66" fmla="*/ 127110 w 308859"/>
              <a:gd name="T67" fmla="*/ 259625 h 288564"/>
              <a:gd name="T68" fmla="*/ 121016 w 308859"/>
              <a:gd name="T69" fmla="*/ 232134 h 288564"/>
              <a:gd name="T70" fmla="*/ 62213 w 308859"/>
              <a:gd name="T71" fmla="*/ 156171 h 288564"/>
              <a:gd name="T72" fmla="*/ 46437 w 308859"/>
              <a:gd name="T73" fmla="*/ 153639 h 288564"/>
              <a:gd name="T74" fmla="*/ 70101 w 308859"/>
              <a:gd name="T75" fmla="*/ 215494 h 288564"/>
              <a:gd name="T76" fmla="*/ 66516 w 308859"/>
              <a:gd name="T77" fmla="*/ 223091 h 288564"/>
              <a:gd name="T78" fmla="*/ 34605 w 308859"/>
              <a:gd name="T79" fmla="*/ 164491 h 288564"/>
              <a:gd name="T80" fmla="*/ 20622 w 308859"/>
              <a:gd name="T81" fmla="*/ 82379 h 288564"/>
              <a:gd name="T82" fmla="*/ 12733 w 308859"/>
              <a:gd name="T83" fmla="*/ 91421 h 288564"/>
              <a:gd name="T84" fmla="*/ 76913 w 308859"/>
              <a:gd name="T85" fmla="*/ 279882 h 288564"/>
              <a:gd name="T86" fmla="*/ 75121 w 308859"/>
              <a:gd name="T87" fmla="*/ 288925 h 288564"/>
              <a:gd name="T88" fmla="*/ 60062 w 308859"/>
              <a:gd name="T89" fmla="*/ 278796 h 288564"/>
              <a:gd name="T90" fmla="*/ 12374 w 308859"/>
              <a:gd name="T91" fmla="*/ 74059 h 288564"/>
              <a:gd name="T92" fmla="*/ 200423 w 308859"/>
              <a:gd name="T93" fmla="*/ 51214 h 288564"/>
              <a:gd name="T94" fmla="*/ 154502 w 308859"/>
              <a:gd name="T95" fmla="*/ 101367 h 288564"/>
              <a:gd name="T96" fmla="*/ 129939 w 308859"/>
              <a:gd name="T97" fmla="*/ 77553 h 288564"/>
              <a:gd name="T98" fmla="*/ 136703 w 308859"/>
              <a:gd name="T99" fmla="*/ 71059 h 288564"/>
              <a:gd name="T100" fmla="*/ 193659 w 308859"/>
              <a:gd name="T101" fmla="*/ 45080 h 288564"/>
              <a:gd name="T102" fmla="*/ 118641 w 308859"/>
              <a:gd name="T103" fmla="*/ 9379 h 288564"/>
              <a:gd name="T104" fmla="*/ 155681 w 308859"/>
              <a:gd name="T105" fmla="*/ 141769 h 288564"/>
              <a:gd name="T106" fmla="*/ 192722 w 308859"/>
              <a:gd name="T107" fmla="*/ 9379 h 288564"/>
              <a:gd name="T108" fmla="*/ 151725 w 308859"/>
              <a:gd name="T109" fmla="*/ 28498 h 288564"/>
              <a:gd name="T110" fmla="*/ 118641 w 308859"/>
              <a:gd name="T111" fmla="*/ 0 h 288564"/>
              <a:gd name="T112" fmla="*/ 192722 w 308859"/>
              <a:gd name="T113" fmla="*/ 0 h 288564"/>
              <a:gd name="T114" fmla="*/ 157839 w 308859"/>
              <a:gd name="T115" fmla="*/ 151508 h 288564"/>
              <a:gd name="T116" fmla="*/ 153164 w 308859"/>
              <a:gd name="T117" fmla="*/ 151508 h 288564"/>
              <a:gd name="T118" fmla="*/ 118641 w 308859"/>
              <a:gd name="T119" fmla="*/ 0 h 28856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8859" h="288564">
                <a:moveTo>
                  <a:pt x="271142" y="88778"/>
                </a:moveTo>
                <a:cubicBezTo>
                  <a:pt x="269344" y="89140"/>
                  <a:pt x="267906" y="90585"/>
                  <a:pt x="266827" y="92391"/>
                </a:cubicBezTo>
                <a:cubicBezTo>
                  <a:pt x="264670" y="96004"/>
                  <a:pt x="264310" y="102868"/>
                  <a:pt x="263231" y="110816"/>
                </a:cubicBezTo>
                <a:cubicBezTo>
                  <a:pt x="262153" y="119126"/>
                  <a:pt x="261074" y="129603"/>
                  <a:pt x="258197" y="141525"/>
                </a:cubicBezTo>
                <a:cubicBezTo>
                  <a:pt x="261434" y="142247"/>
                  <a:pt x="263951" y="143331"/>
                  <a:pt x="266827" y="145137"/>
                </a:cubicBezTo>
                <a:cubicBezTo>
                  <a:pt x="267906" y="145860"/>
                  <a:pt x="268265" y="146221"/>
                  <a:pt x="269344" y="146583"/>
                </a:cubicBezTo>
                <a:cubicBezTo>
                  <a:pt x="274019" y="126351"/>
                  <a:pt x="275097" y="110094"/>
                  <a:pt x="276176" y="99255"/>
                </a:cubicBezTo>
                <a:cubicBezTo>
                  <a:pt x="276536" y="95643"/>
                  <a:pt x="276536" y="92753"/>
                  <a:pt x="276895" y="90224"/>
                </a:cubicBezTo>
                <a:cubicBezTo>
                  <a:pt x="275097" y="88778"/>
                  <a:pt x="272940" y="88417"/>
                  <a:pt x="271142" y="88778"/>
                </a:cubicBezTo>
                <a:close/>
                <a:moveTo>
                  <a:pt x="37940" y="88778"/>
                </a:moveTo>
                <a:cubicBezTo>
                  <a:pt x="35783" y="88417"/>
                  <a:pt x="33985" y="88778"/>
                  <a:pt x="31828" y="90224"/>
                </a:cubicBezTo>
                <a:cubicBezTo>
                  <a:pt x="32187" y="92753"/>
                  <a:pt x="32547" y="95643"/>
                  <a:pt x="32547" y="99255"/>
                </a:cubicBezTo>
                <a:cubicBezTo>
                  <a:pt x="33625" y="110094"/>
                  <a:pt x="35064" y="126351"/>
                  <a:pt x="39738" y="146583"/>
                </a:cubicBezTo>
                <a:cubicBezTo>
                  <a:pt x="40457" y="146221"/>
                  <a:pt x="41177" y="145860"/>
                  <a:pt x="41896" y="145137"/>
                </a:cubicBezTo>
                <a:cubicBezTo>
                  <a:pt x="44772" y="143331"/>
                  <a:pt x="47649" y="142247"/>
                  <a:pt x="50526" y="141525"/>
                </a:cubicBezTo>
                <a:cubicBezTo>
                  <a:pt x="47649" y="129603"/>
                  <a:pt x="46570" y="119487"/>
                  <a:pt x="45851" y="110816"/>
                </a:cubicBezTo>
                <a:cubicBezTo>
                  <a:pt x="44772" y="102868"/>
                  <a:pt x="44053" y="96004"/>
                  <a:pt x="42255" y="92391"/>
                </a:cubicBezTo>
                <a:cubicBezTo>
                  <a:pt x="41177" y="90585"/>
                  <a:pt x="39738" y="89140"/>
                  <a:pt x="37940" y="88778"/>
                </a:cubicBezTo>
                <a:close/>
                <a:moveTo>
                  <a:pt x="284806" y="73966"/>
                </a:moveTo>
                <a:cubicBezTo>
                  <a:pt x="290200" y="71437"/>
                  <a:pt x="294155" y="72882"/>
                  <a:pt x="296672" y="73966"/>
                </a:cubicBezTo>
                <a:cubicBezTo>
                  <a:pt x="303864" y="78301"/>
                  <a:pt x="305302" y="88778"/>
                  <a:pt x="305302" y="90224"/>
                </a:cubicBezTo>
                <a:cubicBezTo>
                  <a:pt x="321843" y="174401"/>
                  <a:pt x="276895" y="244488"/>
                  <a:pt x="248848" y="278448"/>
                </a:cubicBezTo>
                <a:cubicBezTo>
                  <a:pt x="244893" y="282784"/>
                  <a:pt x="240218" y="286396"/>
                  <a:pt x="235184" y="288203"/>
                </a:cubicBezTo>
                <a:cubicBezTo>
                  <a:pt x="234465" y="288564"/>
                  <a:pt x="234106" y="288564"/>
                  <a:pt x="233386" y="288564"/>
                </a:cubicBezTo>
                <a:cubicBezTo>
                  <a:pt x="231589" y="288564"/>
                  <a:pt x="229791" y="287480"/>
                  <a:pt x="229071" y="285312"/>
                </a:cubicBezTo>
                <a:cubicBezTo>
                  <a:pt x="227993" y="283145"/>
                  <a:pt x="229431" y="280255"/>
                  <a:pt x="231948" y="279532"/>
                </a:cubicBezTo>
                <a:cubicBezTo>
                  <a:pt x="235544" y="278087"/>
                  <a:pt x="238780" y="275558"/>
                  <a:pt x="241297" y="272668"/>
                </a:cubicBezTo>
                <a:cubicBezTo>
                  <a:pt x="268625" y="239792"/>
                  <a:pt x="311774" y="172233"/>
                  <a:pt x="295953" y="91669"/>
                </a:cubicBezTo>
                <a:cubicBezTo>
                  <a:pt x="295953" y="88778"/>
                  <a:pt x="294515" y="83721"/>
                  <a:pt x="291998" y="82276"/>
                </a:cubicBezTo>
                <a:cubicBezTo>
                  <a:pt x="291638" y="82276"/>
                  <a:pt x="290919" y="81553"/>
                  <a:pt x="288402" y="82276"/>
                </a:cubicBezTo>
                <a:cubicBezTo>
                  <a:pt x="286964" y="83359"/>
                  <a:pt x="285885" y="92391"/>
                  <a:pt x="285525" y="99617"/>
                </a:cubicBezTo>
                <a:cubicBezTo>
                  <a:pt x="284087" y="114068"/>
                  <a:pt x="282649" y="135383"/>
                  <a:pt x="274378" y="164285"/>
                </a:cubicBezTo>
                <a:cubicBezTo>
                  <a:pt x="272580" y="176930"/>
                  <a:pt x="263231" y="196077"/>
                  <a:pt x="246331" y="220644"/>
                </a:cubicBezTo>
                <a:cubicBezTo>
                  <a:pt x="245612" y="222089"/>
                  <a:pt x="243814" y="222812"/>
                  <a:pt x="242376" y="222812"/>
                </a:cubicBezTo>
                <a:cubicBezTo>
                  <a:pt x="241297" y="222812"/>
                  <a:pt x="240578" y="222451"/>
                  <a:pt x="239859" y="221728"/>
                </a:cubicBezTo>
                <a:cubicBezTo>
                  <a:pt x="237701" y="220283"/>
                  <a:pt x="236982" y="217393"/>
                  <a:pt x="238780" y="215225"/>
                </a:cubicBezTo>
                <a:cubicBezTo>
                  <a:pt x="258916" y="185962"/>
                  <a:pt x="264310" y="170427"/>
                  <a:pt x="265029" y="162479"/>
                </a:cubicBezTo>
                <a:cubicBezTo>
                  <a:pt x="265748" y="155253"/>
                  <a:pt x="263231" y="153808"/>
                  <a:pt x="262153" y="153447"/>
                </a:cubicBezTo>
                <a:cubicBezTo>
                  <a:pt x="258197" y="150918"/>
                  <a:pt x="254961" y="150195"/>
                  <a:pt x="252084" y="150918"/>
                </a:cubicBezTo>
                <a:cubicBezTo>
                  <a:pt x="248489" y="152002"/>
                  <a:pt x="246691" y="155976"/>
                  <a:pt x="246691" y="155976"/>
                </a:cubicBezTo>
                <a:cubicBezTo>
                  <a:pt x="229431" y="190658"/>
                  <a:pt x="222239" y="195355"/>
                  <a:pt x="214329" y="200051"/>
                </a:cubicBezTo>
                <a:cubicBezTo>
                  <a:pt x="208216" y="204387"/>
                  <a:pt x="202103" y="208361"/>
                  <a:pt x="187720" y="231844"/>
                </a:cubicBezTo>
                <a:cubicBezTo>
                  <a:pt x="183405" y="238708"/>
                  <a:pt x="182326" y="246295"/>
                  <a:pt x="184484" y="253520"/>
                </a:cubicBezTo>
                <a:cubicBezTo>
                  <a:pt x="185203" y="256049"/>
                  <a:pt x="183764" y="258578"/>
                  <a:pt x="181247" y="259301"/>
                </a:cubicBezTo>
                <a:cubicBezTo>
                  <a:pt x="180888" y="259301"/>
                  <a:pt x="180528" y="259301"/>
                  <a:pt x="179809" y="259301"/>
                </a:cubicBezTo>
                <a:cubicBezTo>
                  <a:pt x="178011" y="259301"/>
                  <a:pt x="176213" y="258217"/>
                  <a:pt x="175494" y="256049"/>
                </a:cubicBezTo>
                <a:cubicBezTo>
                  <a:pt x="172977" y="246295"/>
                  <a:pt x="174056" y="235818"/>
                  <a:pt x="179450" y="227147"/>
                </a:cubicBezTo>
                <a:cubicBezTo>
                  <a:pt x="194911" y="201497"/>
                  <a:pt x="202463" y="196439"/>
                  <a:pt x="209295" y="192465"/>
                </a:cubicBezTo>
                <a:cubicBezTo>
                  <a:pt x="216127" y="188129"/>
                  <a:pt x="222239" y="184155"/>
                  <a:pt x="238421" y="151640"/>
                </a:cubicBezTo>
                <a:cubicBezTo>
                  <a:pt x="238421" y="151279"/>
                  <a:pt x="241657" y="145137"/>
                  <a:pt x="248489" y="142247"/>
                </a:cubicBezTo>
                <a:cubicBezTo>
                  <a:pt x="251725" y="129603"/>
                  <a:pt x="253163" y="118764"/>
                  <a:pt x="254242" y="109732"/>
                </a:cubicBezTo>
                <a:cubicBezTo>
                  <a:pt x="254961" y="100701"/>
                  <a:pt x="255680" y="93836"/>
                  <a:pt x="258197" y="88417"/>
                </a:cubicBezTo>
                <a:cubicBezTo>
                  <a:pt x="260714" y="83721"/>
                  <a:pt x="264670" y="80830"/>
                  <a:pt x="269344" y="79747"/>
                </a:cubicBezTo>
                <a:cubicBezTo>
                  <a:pt x="272580" y="79024"/>
                  <a:pt x="275457" y="79385"/>
                  <a:pt x="278693" y="80830"/>
                </a:cubicBezTo>
                <a:cubicBezTo>
                  <a:pt x="280132" y="77579"/>
                  <a:pt x="281929" y="75050"/>
                  <a:pt x="284806" y="73966"/>
                </a:cubicBezTo>
                <a:close/>
                <a:moveTo>
                  <a:pt x="12410" y="73966"/>
                </a:moveTo>
                <a:cubicBezTo>
                  <a:pt x="14568" y="72882"/>
                  <a:pt x="18523" y="71437"/>
                  <a:pt x="24276" y="73966"/>
                </a:cubicBezTo>
                <a:cubicBezTo>
                  <a:pt x="27153" y="75050"/>
                  <a:pt x="28591" y="77579"/>
                  <a:pt x="30030" y="80830"/>
                </a:cubicBezTo>
                <a:cubicBezTo>
                  <a:pt x="33266" y="79385"/>
                  <a:pt x="36502" y="79024"/>
                  <a:pt x="39738" y="79747"/>
                </a:cubicBezTo>
                <a:cubicBezTo>
                  <a:pt x="44413" y="80830"/>
                  <a:pt x="48009" y="83721"/>
                  <a:pt x="50526" y="88417"/>
                </a:cubicBezTo>
                <a:cubicBezTo>
                  <a:pt x="53402" y="93836"/>
                  <a:pt x="53762" y="100701"/>
                  <a:pt x="54841" y="109732"/>
                </a:cubicBezTo>
                <a:cubicBezTo>
                  <a:pt x="55919" y="118764"/>
                  <a:pt x="56998" y="129603"/>
                  <a:pt x="60234" y="142247"/>
                </a:cubicBezTo>
                <a:cubicBezTo>
                  <a:pt x="67426" y="145137"/>
                  <a:pt x="70302" y="151279"/>
                  <a:pt x="70662" y="152002"/>
                </a:cubicBezTo>
                <a:cubicBezTo>
                  <a:pt x="86843" y="184155"/>
                  <a:pt x="92956" y="188129"/>
                  <a:pt x="99428" y="192465"/>
                </a:cubicBezTo>
                <a:cubicBezTo>
                  <a:pt x="106260" y="196439"/>
                  <a:pt x="113811" y="201497"/>
                  <a:pt x="129633" y="227147"/>
                </a:cubicBezTo>
                <a:cubicBezTo>
                  <a:pt x="134667" y="235818"/>
                  <a:pt x="136106" y="246295"/>
                  <a:pt x="133589" y="256049"/>
                </a:cubicBezTo>
                <a:cubicBezTo>
                  <a:pt x="132869" y="258217"/>
                  <a:pt x="131071" y="259301"/>
                  <a:pt x="128914" y="259301"/>
                </a:cubicBezTo>
                <a:cubicBezTo>
                  <a:pt x="128554" y="259301"/>
                  <a:pt x="127835" y="259301"/>
                  <a:pt x="127475" y="259301"/>
                </a:cubicBezTo>
                <a:cubicBezTo>
                  <a:pt x="125318" y="258578"/>
                  <a:pt x="123880" y="256049"/>
                  <a:pt x="124239" y="253520"/>
                </a:cubicBezTo>
                <a:cubicBezTo>
                  <a:pt x="126397" y="246295"/>
                  <a:pt x="125318" y="238708"/>
                  <a:pt x="121363" y="231844"/>
                </a:cubicBezTo>
                <a:cubicBezTo>
                  <a:pt x="106979" y="208361"/>
                  <a:pt x="100867" y="204387"/>
                  <a:pt x="94754" y="200051"/>
                </a:cubicBezTo>
                <a:cubicBezTo>
                  <a:pt x="86483" y="195355"/>
                  <a:pt x="79651" y="190658"/>
                  <a:pt x="62392" y="155976"/>
                </a:cubicBezTo>
                <a:cubicBezTo>
                  <a:pt x="62032" y="155976"/>
                  <a:pt x="60594" y="152002"/>
                  <a:pt x="56638" y="150918"/>
                </a:cubicBezTo>
                <a:cubicBezTo>
                  <a:pt x="53762" y="150195"/>
                  <a:pt x="50526" y="150918"/>
                  <a:pt x="46570" y="153447"/>
                </a:cubicBezTo>
                <a:cubicBezTo>
                  <a:pt x="45851" y="153808"/>
                  <a:pt x="42975" y="155253"/>
                  <a:pt x="43694" y="162479"/>
                </a:cubicBezTo>
                <a:cubicBezTo>
                  <a:pt x="44413" y="170427"/>
                  <a:pt x="49806" y="185962"/>
                  <a:pt x="70302" y="215225"/>
                </a:cubicBezTo>
                <a:cubicBezTo>
                  <a:pt x="71741" y="217393"/>
                  <a:pt x="71381" y="220283"/>
                  <a:pt x="69224" y="221728"/>
                </a:cubicBezTo>
                <a:cubicBezTo>
                  <a:pt x="68145" y="222451"/>
                  <a:pt x="67426" y="222812"/>
                  <a:pt x="66707" y="222812"/>
                </a:cubicBezTo>
                <a:cubicBezTo>
                  <a:pt x="64909" y="222812"/>
                  <a:pt x="63470" y="222089"/>
                  <a:pt x="62751" y="220644"/>
                </a:cubicBezTo>
                <a:cubicBezTo>
                  <a:pt x="45851" y="196077"/>
                  <a:pt x="36143" y="176930"/>
                  <a:pt x="34704" y="164285"/>
                </a:cubicBezTo>
                <a:cubicBezTo>
                  <a:pt x="26074" y="135383"/>
                  <a:pt x="24636" y="114068"/>
                  <a:pt x="23557" y="99617"/>
                </a:cubicBezTo>
                <a:cubicBezTo>
                  <a:pt x="22838" y="92391"/>
                  <a:pt x="22119" y="83359"/>
                  <a:pt x="20681" y="82276"/>
                </a:cubicBezTo>
                <a:cubicBezTo>
                  <a:pt x="18164" y="81553"/>
                  <a:pt x="17444" y="82276"/>
                  <a:pt x="17085" y="82276"/>
                </a:cubicBezTo>
                <a:cubicBezTo>
                  <a:pt x="14208" y="83721"/>
                  <a:pt x="13130" y="88778"/>
                  <a:pt x="12770" y="91307"/>
                </a:cubicBezTo>
                <a:cubicBezTo>
                  <a:pt x="-2692" y="172233"/>
                  <a:pt x="40457" y="239792"/>
                  <a:pt x="67426" y="272668"/>
                </a:cubicBezTo>
                <a:cubicBezTo>
                  <a:pt x="69943" y="275558"/>
                  <a:pt x="73179" y="278087"/>
                  <a:pt x="77134" y="279532"/>
                </a:cubicBezTo>
                <a:cubicBezTo>
                  <a:pt x="79292" y="280255"/>
                  <a:pt x="80730" y="283145"/>
                  <a:pt x="79651" y="285312"/>
                </a:cubicBezTo>
                <a:cubicBezTo>
                  <a:pt x="79292" y="287480"/>
                  <a:pt x="77494" y="288564"/>
                  <a:pt x="75337" y="288564"/>
                </a:cubicBezTo>
                <a:cubicBezTo>
                  <a:pt x="74977" y="288564"/>
                  <a:pt x="74258" y="288564"/>
                  <a:pt x="73898" y="288203"/>
                </a:cubicBezTo>
                <a:cubicBezTo>
                  <a:pt x="68505" y="286396"/>
                  <a:pt x="63830" y="282784"/>
                  <a:pt x="60234" y="278448"/>
                </a:cubicBezTo>
                <a:cubicBezTo>
                  <a:pt x="32187" y="244488"/>
                  <a:pt x="-12760" y="174401"/>
                  <a:pt x="3421" y="89501"/>
                </a:cubicBezTo>
                <a:cubicBezTo>
                  <a:pt x="3421" y="88778"/>
                  <a:pt x="5219" y="78301"/>
                  <a:pt x="12410" y="73966"/>
                </a:cubicBezTo>
                <a:close/>
                <a:moveTo>
                  <a:pt x="200641" y="44664"/>
                </a:moveTo>
                <a:cubicBezTo>
                  <a:pt x="202426" y="46105"/>
                  <a:pt x="202783" y="48988"/>
                  <a:pt x="200998" y="51150"/>
                </a:cubicBezTo>
                <a:lnTo>
                  <a:pt x="158515" y="99798"/>
                </a:lnTo>
                <a:cubicBezTo>
                  <a:pt x="157444" y="100519"/>
                  <a:pt x="156373" y="101240"/>
                  <a:pt x="154945" y="101240"/>
                </a:cubicBezTo>
                <a:cubicBezTo>
                  <a:pt x="153517" y="101240"/>
                  <a:pt x="152446" y="100880"/>
                  <a:pt x="151732" y="99798"/>
                </a:cubicBezTo>
                <a:lnTo>
                  <a:pt x="130312" y="77456"/>
                </a:lnTo>
                <a:cubicBezTo>
                  <a:pt x="128527" y="75655"/>
                  <a:pt x="128527" y="72772"/>
                  <a:pt x="130312" y="70970"/>
                </a:cubicBezTo>
                <a:cubicBezTo>
                  <a:pt x="132454" y="69168"/>
                  <a:pt x="135310" y="69168"/>
                  <a:pt x="137095" y="70970"/>
                </a:cubicBezTo>
                <a:lnTo>
                  <a:pt x="154945" y="89709"/>
                </a:lnTo>
                <a:lnTo>
                  <a:pt x="194215" y="45024"/>
                </a:lnTo>
                <a:cubicBezTo>
                  <a:pt x="196000" y="43223"/>
                  <a:pt x="198856" y="42862"/>
                  <a:pt x="200641" y="44664"/>
                </a:cubicBezTo>
                <a:close/>
                <a:moveTo>
                  <a:pt x="118982" y="9367"/>
                </a:moveTo>
                <a:cubicBezTo>
                  <a:pt x="98064" y="9367"/>
                  <a:pt x="80754" y="26661"/>
                  <a:pt x="80754" y="47918"/>
                </a:cubicBezTo>
                <a:cubicBezTo>
                  <a:pt x="80754" y="90431"/>
                  <a:pt x="142785" y="133305"/>
                  <a:pt x="156128" y="141592"/>
                </a:cubicBezTo>
                <a:cubicBezTo>
                  <a:pt x="169111" y="133305"/>
                  <a:pt x="231503" y="90431"/>
                  <a:pt x="231503" y="47918"/>
                </a:cubicBezTo>
                <a:cubicBezTo>
                  <a:pt x="231503" y="26661"/>
                  <a:pt x="214192" y="9367"/>
                  <a:pt x="193275" y="9367"/>
                </a:cubicBezTo>
                <a:cubicBezTo>
                  <a:pt x="179570" y="9367"/>
                  <a:pt x="166948" y="16573"/>
                  <a:pt x="160095" y="28462"/>
                </a:cubicBezTo>
                <a:cubicBezTo>
                  <a:pt x="158292" y="31344"/>
                  <a:pt x="153604" y="31344"/>
                  <a:pt x="152161" y="28462"/>
                </a:cubicBezTo>
                <a:cubicBezTo>
                  <a:pt x="144948" y="16573"/>
                  <a:pt x="132326" y="9367"/>
                  <a:pt x="118982" y="9367"/>
                </a:cubicBezTo>
                <a:close/>
                <a:moveTo>
                  <a:pt x="118982" y="0"/>
                </a:moveTo>
                <a:cubicBezTo>
                  <a:pt x="133408" y="0"/>
                  <a:pt x="147112" y="6845"/>
                  <a:pt x="156128" y="18014"/>
                </a:cubicBezTo>
                <a:cubicBezTo>
                  <a:pt x="165144" y="6845"/>
                  <a:pt x="178849" y="0"/>
                  <a:pt x="193275" y="0"/>
                </a:cubicBezTo>
                <a:cubicBezTo>
                  <a:pt x="219241" y="0"/>
                  <a:pt x="240880" y="21617"/>
                  <a:pt x="240880" y="47918"/>
                </a:cubicBezTo>
                <a:cubicBezTo>
                  <a:pt x="240880" y="100519"/>
                  <a:pt x="161899" y="149518"/>
                  <a:pt x="158292" y="151319"/>
                </a:cubicBezTo>
                <a:cubicBezTo>
                  <a:pt x="157932" y="151680"/>
                  <a:pt x="156850" y="152040"/>
                  <a:pt x="156128" y="152040"/>
                </a:cubicBezTo>
                <a:cubicBezTo>
                  <a:pt x="155407" y="152040"/>
                  <a:pt x="154325" y="151680"/>
                  <a:pt x="153604" y="151319"/>
                </a:cubicBezTo>
                <a:cubicBezTo>
                  <a:pt x="149997" y="149518"/>
                  <a:pt x="71377" y="100519"/>
                  <a:pt x="71377" y="47918"/>
                </a:cubicBezTo>
                <a:cubicBezTo>
                  <a:pt x="71377" y="21617"/>
                  <a:pt x="92655" y="0"/>
                  <a:pt x="118982" y="0"/>
                </a:cubicBezTo>
                <a:close/>
              </a:path>
            </a:pathLst>
          </a:custGeom>
          <a:solidFill>
            <a:srgbClr val="1D428A"/>
          </a:solidFill>
          <a:ln>
            <a:solidFill>
              <a:schemeClr val="bg1"/>
            </a:solidFill>
          </a:ln>
          <a:effectLst/>
        </p:spPr>
        <p:txBody>
          <a:bodyPr anchor="ct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40" name="Rectangle 39"/>
          <p:cNvSpPr/>
          <p:nvPr/>
        </p:nvSpPr>
        <p:spPr>
          <a:xfrm>
            <a:off x="8267932" y="137644"/>
            <a:ext cx="722376" cy="2651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FFFFFF"/>
                </a:solidFill>
                <a:effectLst/>
                <a:uLnTx/>
                <a:uFillTx/>
                <a:latin typeface="Montserrat Medium"/>
                <a:ea typeface="+mn-ea"/>
                <a:cs typeface="+mn-cs"/>
              </a:rPr>
              <a:t>DRAFT</a:t>
            </a:r>
          </a:p>
        </p:txBody>
      </p:sp>
    </p:spTree>
    <p:extLst>
      <p:ext uri="{BB962C8B-B14F-4D97-AF65-F5344CB8AC3E}">
        <p14:creationId xmlns:p14="http://schemas.microsoft.com/office/powerpoint/2010/main" val="47154911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3516300" y="2323209"/>
            <a:ext cx="2302114" cy="2592000"/>
            <a:chOff x="4994377" y="1855460"/>
            <a:chExt cx="3489857" cy="3847689"/>
          </a:xfrm>
        </p:grpSpPr>
        <p:sp>
          <p:nvSpPr>
            <p:cNvPr id="51" name="Shape 63888">
              <a:extLst>
                <a:ext uri="{FF2B5EF4-FFF2-40B4-BE49-F238E27FC236}">
                  <a16:creationId xmlns:a16="http://schemas.microsoft.com/office/drawing/2014/main" id="{537BCE44-5A09-264D-98AE-00199810900B}"/>
                </a:ext>
              </a:extLst>
            </p:cNvPr>
            <p:cNvSpPr/>
            <p:nvPr/>
          </p:nvSpPr>
          <p:spPr>
            <a:xfrm>
              <a:off x="5969086" y="3372977"/>
              <a:ext cx="1744538" cy="240411"/>
            </a:xfrm>
            <a:custGeom>
              <a:avLst/>
              <a:gdLst/>
              <a:ahLst/>
              <a:cxnLst>
                <a:cxn ang="0">
                  <a:pos x="wd2" y="hd2"/>
                </a:cxn>
                <a:cxn ang="5400000">
                  <a:pos x="wd2" y="hd2"/>
                </a:cxn>
                <a:cxn ang="10800000">
                  <a:pos x="wd2" y="hd2"/>
                </a:cxn>
                <a:cxn ang="16200000">
                  <a:pos x="wd2" y="hd2"/>
                </a:cxn>
              </a:cxnLst>
              <a:rect l="0" t="0" r="r" b="b"/>
              <a:pathLst>
                <a:path w="21600" h="19122" extrusionOk="0">
                  <a:moveTo>
                    <a:pt x="0" y="19122"/>
                  </a:moveTo>
                  <a:cubicBezTo>
                    <a:pt x="3775" y="4122"/>
                    <a:pt x="8595" y="-2478"/>
                    <a:pt x="13353" y="839"/>
                  </a:cubicBezTo>
                  <a:cubicBezTo>
                    <a:pt x="16356" y="2932"/>
                    <a:pt x="19199" y="8950"/>
                    <a:pt x="21600" y="18297"/>
                  </a:cubicBezTo>
                </a:path>
              </a:pathLst>
            </a:custGeom>
            <a:noFill/>
            <a:ln w="38100" cap="flat">
              <a:solidFill>
                <a:schemeClr val="bg1">
                  <a:lumMod val="85000"/>
                </a:schemeClr>
              </a:solidFill>
              <a:prstDash val="solid"/>
              <a:miter lim="400000"/>
            </a:ln>
            <a:effectLst/>
          </p:spPr>
          <p:txBody>
            <a:bodyPr wrap="square" lIns="26789" tIns="26789" rIns="26789" bIns="26789" numCol="1" anchor="ctr">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52" name="Shape 63889">
              <a:extLst>
                <a:ext uri="{FF2B5EF4-FFF2-40B4-BE49-F238E27FC236}">
                  <a16:creationId xmlns:a16="http://schemas.microsoft.com/office/drawing/2014/main" id="{E12E3939-D4AC-074D-BEB3-FE3DC8295B6E}"/>
                </a:ext>
              </a:extLst>
            </p:cNvPr>
            <p:cNvSpPr/>
            <p:nvPr/>
          </p:nvSpPr>
          <p:spPr>
            <a:xfrm>
              <a:off x="5689645" y="2860694"/>
              <a:ext cx="259460" cy="807200"/>
            </a:xfrm>
            <a:custGeom>
              <a:avLst/>
              <a:gdLst/>
              <a:ahLst/>
              <a:cxnLst>
                <a:cxn ang="0">
                  <a:pos x="wd2" y="hd2"/>
                </a:cxn>
                <a:cxn ang="5400000">
                  <a:pos x="wd2" y="hd2"/>
                </a:cxn>
                <a:cxn ang="10800000">
                  <a:pos x="wd2" y="hd2"/>
                </a:cxn>
                <a:cxn ang="16200000">
                  <a:pos x="wd2" y="hd2"/>
                </a:cxn>
              </a:cxnLst>
              <a:rect l="0" t="0" r="r" b="b"/>
              <a:pathLst>
                <a:path w="20496" h="21600" extrusionOk="0">
                  <a:moveTo>
                    <a:pt x="1126" y="21600"/>
                  </a:moveTo>
                  <a:cubicBezTo>
                    <a:pt x="-1104" y="17330"/>
                    <a:pt x="0" y="12958"/>
                    <a:pt x="4254" y="8903"/>
                  </a:cubicBezTo>
                  <a:cubicBezTo>
                    <a:pt x="7742" y="5578"/>
                    <a:pt x="13279" y="2544"/>
                    <a:pt x="20496" y="0"/>
                  </a:cubicBezTo>
                </a:path>
              </a:pathLst>
            </a:custGeom>
            <a:noFill/>
            <a:ln w="38100" cap="flat">
              <a:solidFill>
                <a:schemeClr val="bg1">
                  <a:lumMod val="85000"/>
                </a:schemeClr>
              </a:solidFill>
              <a:prstDash val="solid"/>
              <a:miter lim="400000"/>
            </a:ln>
            <a:effectLst/>
          </p:spPr>
          <p:txBody>
            <a:bodyPr wrap="square" lIns="26789" tIns="26789" rIns="26789" bIns="26789" numCol="1" anchor="ctr">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53" name="Shape 63890">
              <a:extLst>
                <a:ext uri="{FF2B5EF4-FFF2-40B4-BE49-F238E27FC236}">
                  <a16:creationId xmlns:a16="http://schemas.microsoft.com/office/drawing/2014/main" id="{468FBD49-7A2E-564E-A915-EB682006EB7A}"/>
                </a:ext>
              </a:extLst>
            </p:cNvPr>
            <p:cNvSpPr/>
            <p:nvPr/>
          </p:nvSpPr>
          <p:spPr>
            <a:xfrm>
              <a:off x="5831528" y="2882024"/>
              <a:ext cx="1357661" cy="730392"/>
            </a:xfrm>
            <a:custGeom>
              <a:avLst/>
              <a:gdLst/>
              <a:ahLst/>
              <a:cxnLst>
                <a:cxn ang="0">
                  <a:pos x="wd2" y="hd2"/>
                </a:cxn>
                <a:cxn ang="5400000">
                  <a:pos x="wd2" y="hd2"/>
                </a:cxn>
                <a:cxn ang="10800000">
                  <a:pos x="wd2" y="hd2"/>
                </a:cxn>
                <a:cxn ang="16200000">
                  <a:pos x="wd2" y="hd2"/>
                </a:cxn>
              </a:cxnLst>
              <a:rect l="0" t="0" r="r" b="b"/>
              <a:pathLst>
                <a:path w="21600" h="20820" extrusionOk="0">
                  <a:moveTo>
                    <a:pt x="0" y="20820"/>
                  </a:moveTo>
                  <a:cubicBezTo>
                    <a:pt x="1039" y="15184"/>
                    <a:pt x="3294" y="10155"/>
                    <a:pt x="6447" y="6444"/>
                  </a:cubicBezTo>
                  <a:cubicBezTo>
                    <a:pt x="10674" y="1467"/>
                    <a:pt x="16164" y="-780"/>
                    <a:pt x="21600" y="241"/>
                  </a:cubicBezTo>
                </a:path>
              </a:pathLst>
            </a:custGeom>
            <a:noFill/>
            <a:ln w="38100" cap="flat">
              <a:solidFill>
                <a:schemeClr val="bg1">
                  <a:lumMod val="85000"/>
                </a:schemeClr>
              </a:solidFill>
              <a:prstDash val="solid"/>
              <a:miter lim="400000"/>
            </a:ln>
            <a:effectLst/>
          </p:spPr>
          <p:txBody>
            <a:bodyPr wrap="square" lIns="26789" tIns="26789" rIns="26789" bIns="26789" numCol="1" anchor="ctr">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54" name="Shape 63891">
              <a:extLst>
                <a:ext uri="{FF2B5EF4-FFF2-40B4-BE49-F238E27FC236}">
                  <a16:creationId xmlns:a16="http://schemas.microsoft.com/office/drawing/2014/main" id="{ABF6774E-0F23-1741-959B-3D4445DB4F74}"/>
                </a:ext>
              </a:extLst>
            </p:cNvPr>
            <p:cNvSpPr/>
            <p:nvPr/>
          </p:nvSpPr>
          <p:spPr>
            <a:xfrm>
              <a:off x="6415097" y="3628807"/>
              <a:ext cx="908181" cy="1112984"/>
            </a:xfrm>
            <a:custGeom>
              <a:avLst/>
              <a:gdLst/>
              <a:ahLst/>
              <a:cxnLst>
                <a:cxn ang="0">
                  <a:pos x="wd2" y="hd2"/>
                </a:cxn>
                <a:cxn ang="5400000">
                  <a:pos x="wd2" y="hd2"/>
                </a:cxn>
                <a:cxn ang="10800000">
                  <a:pos x="wd2" y="hd2"/>
                </a:cxn>
                <a:cxn ang="16200000">
                  <a:pos x="wd2" y="hd2"/>
                </a:cxn>
              </a:cxnLst>
              <a:rect l="0" t="0" r="r" b="b"/>
              <a:pathLst>
                <a:path w="21169" h="21170" extrusionOk="0">
                  <a:moveTo>
                    <a:pt x="0" y="268"/>
                  </a:moveTo>
                  <a:cubicBezTo>
                    <a:pt x="3992" y="-430"/>
                    <a:pt x="8131" y="251"/>
                    <a:pt x="11535" y="2149"/>
                  </a:cubicBezTo>
                  <a:cubicBezTo>
                    <a:pt x="13839" y="3433"/>
                    <a:pt x="15698" y="5223"/>
                    <a:pt x="17180" y="7232"/>
                  </a:cubicBezTo>
                  <a:cubicBezTo>
                    <a:pt x="20234" y="11372"/>
                    <a:pt x="21600" y="16276"/>
                    <a:pt x="21051" y="21170"/>
                  </a:cubicBezTo>
                </a:path>
              </a:pathLst>
            </a:custGeom>
            <a:noFill/>
            <a:ln w="38100" cap="flat">
              <a:solidFill>
                <a:schemeClr val="bg1">
                  <a:lumMod val="85000"/>
                </a:schemeClr>
              </a:solidFill>
              <a:prstDash val="solid"/>
              <a:miter lim="400000"/>
            </a:ln>
            <a:effectLst/>
          </p:spPr>
          <p:txBody>
            <a:bodyPr wrap="square" lIns="26789" tIns="26789" rIns="26789" bIns="26789" numCol="1" anchor="ctr">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grpSp>
          <p:nvGrpSpPr>
            <p:cNvPr id="27" name="Group 63895">
              <a:extLst>
                <a:ext uri="{FF2B5EF4-FFF2-40B4-BE49-F238E27FC236}">
                  <a16:creationId xmlns:a16="http://schemas.microsoft.com/office/drawing/2014/main" id="{E6A28B4B-06B2-4D4D-900C-6C38B130DA86}"/>
                </a:ext>
              </a:extLst>
            </p:cNvPr>
            <p:cNvGrpSpPr/>
            <p:nvPr/>
          </p:nvGrpSpPr>
          <p:grpSpPr>
            <a:xfrm>
              <a:off x="4994377" y="3449396"/>
              <a:ext cx="1541213" cy="1189964"/>
              <a:chOff x="0" y="0"/>
              <a:chExt cx="2540000" cy="1961122"/>
            </a:xfrm>
          </p:grpSpPr>
          <p:sp>
            <p:nvSpPr>
              <p:cNvPr id="49" name="Shape 63893">
                <a:extLst>
                  <a:ext uri="{FF2B5EF4-FFF2-40B4-BE49-F238E27FC236}">
                    <a16:creationId xmlns:a16="http://schemas.microsoft.com/office/drawing/2014/main" id="{AF07538E-50EA-6D42-ADAB-DBE7E8FB459D}"/>
                  </a:ext>
                </a:extLst>
              </p:cNvPr>
              <p:cNvSpPr/>
              <p:nvPr/>
            </p:nvSpPr>
            <p:spPr>
              <a:xfrm>
                <a:off x="185455" y="0"/>
                <a:ext cx="2169090" cy="366602"/>
              </a:xfrm>
              <a:custGeom>
                <a:avLst/>
                <a:gdLst/>
                <a:ahLst/>
                <a:cxnLst>
                  <a:cxn ang="0">
                    <a:pos x="wd2" y="hd2"/>
                  </a:cxn>
                  <a:cxn ang="5400000">
                    <a:pos x="wd2" y="hd2"/>
                  </a:cxn>
                  <a:cxn ang="10800000">
                    <a:pos x="wd2" y="hd2"/>
                  </a:cxn>
                  <a:cxn ang="16200000">
                    <a:pos x="wd2" y="hd2"/>
                  </a:cxn>
                </a:cxnLst>
                <a:rect l="0" t="0" r="r" b="b"/>
                <a:pathLst>
                  <a:path w="21586" h="21600" extrusionOk="0">
                    <a:moveTo>
                      <a:pt x="21586" y="21600"/>
                    </a:moveTo>
                    <a:lnTo>
                      <a:pt x="21586" y="17622"/>
                    </a:lnTo>
                    <a:cubicBezTo>
                      <a:pt x="21586" y="15553"/>
                      <a:pt x="21300" y="13860"/>
                      <a:pt x="20950" y="13860"/>
                    </a:cubicBezTo>
                    <a:lnTo>
                      <a:pt x="9943" y="13860"/>
                    </a:lnTo>
                    <a:cubicBezTo>
                      <a:pt x="9594" y="13860"/>
                      <a:pt x="9151" y="12442"/>
                      <a:pt x="8960" y="10709"/>
                    </a:cubicBezTo>
                    <a:lnTo>
                      <a:pt x="8126" y="3150"/>
                    </a:lnTo>
                    <a:cubicBezTo>
                      <a:pt x="7935" y="1418"/>
                      <a:pt x="7493" y="0"/>
                      <a:pt x="7143" y="0"/>
                    </a:cubicBezTo>
                    <a:lnTo>
                      <a:pt x="609" y="0"/>
                    </a:lnTo>
                    <a:cubicBezTo>
                      <a:pt x="260" y="0"/>
                      <a:pt x="-14" y="1692"/>
                      <a:pt x="1" y="3759"/>
                    </a:cubicBezTo>
                    <a:lnTo>
                      <a:pt x="128" y="21600"/>
                    </a:lnTo>
                    <a:cubicBezTo>
                      <a:pt x="128" y="21600"/>
                      <a:pt x="21586" y="21600"/>
                      <a:pt x="21586" y="21600"/>
                    </a:cubicBezTo>
                    <a:close/>
                  </a:path>
                </a:pathLst>
              </a:custGeom>
              <a:solidFill>
                <a:schemeClr val="accent5">
                  <a:lumMod val="75000"/>
                </a:schemeClr>
              </a:solidFill>
              <a:ln w="12700" cap="flat">
                <a:noFill/>
                <a:miter lim="400000"/>
              </a:ln>
              <a:effectLst/>
            </p:spPr>
            <p:txBody>
              <a:bodyPr wrap="square" lIns="20092" tIns="20092" rIns="20092" bIns="20092" numCol="1" anchor="ctr">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50" name="Shape 63894">
                <a:extLst>
                  <a:ext uri="{FF2B5EF4-FFF2-40B4-BE49-F238E27FC236}">
                    <a16:creationId xmlns:a16="http://schemas.microsoft.com/office/drawing/2014/main" id="{619BC360-EBE5-2945-8C68-A2F166717672}"/>
                  </a:ext>
                </a:extLst>
              </p:cNvPr>
              <p:cNvSpPr/>
              <p:nvPr/>
            </p:nvSpPr>
            <p:spPr>
              <a:xfrm>
                <a:off x="-1" y="353633"/>
                <a:ext cx="2540001" cy="1607490"/>
              </a:xfrm>
              <a:custGeom>
                <a:avLst/>
                <a:gdLst/>
                <a:ahLst/>
                <a:cxnLst>
                  <a:cxn ang="0">
                    <a:pos x="wd2" y="hd2"/>
                  </a:cxn>
                  <a:cxn ang="5400000">
                    <a:pos x="wd2" y="hd2"/>
                  </a:cxn>
                  <a:cxn ang="10800000">
                    <a:pos x="wd2" y="hd2"/>
                  </a:cxn>
                  <a:cxn ang="16200000">
                    <a:pos x="wd2" y="hd2"/>
                  </a:cxn>
                </a:cxnLst>
                <a:rect l="0" t="0" r="r" b="b"/>
                <a:pathLst>
                  <a:path w="21540" h="21600" extrusionOk="0">
                    <a:moveTo>
                      <a:pt x="20041" y="20748"/>
                    </a:moveTo>
                    <a:cubicBezTo>
                      <a:pt x="20006" y="21217"/>
                      <a:pt x="19733" y="21600"/>
                      <a:pt x="19435" y="21600"/>
                    </a:cubicBezTo>
                    <a:lnTo>
                      <a:pt x="1921" y="21600"/>
                    </a:lnTo>
                    <a:cubicBezTo>
                      <a:pt x="1623" y="21600"/>
                      <a:pt x="1354" y="21216"/>
                      <a:pt x="1323" y="20747"/>
                    </a:cubicBezTo>
                    <a:lnTo>
                      <a:pt x="3" y="853"/>
                    </a:lnTo>
                    <a:cubicBezTo>
                      <a:pt x="-28" y="384"/>
                      <a:pt x="190" y="0"/>
                      <a:pt x="488" y="0"/>
                    </a:cubicBezTo>
                    <a:lnTo>
                      <a:pt x="21059" y="0"/>
                    </a:lnTo>
                    <a:cubicBezTo>
                      <a:pt x="21357" y="0"/>
                      <a:pt x="21572" y="383"/>
                      <a:pt x="21537" y="852"/>
                    </a:cubicBezTo>
                    <a:cubicBezTo>
                      <a:pt x="21537" y="852"/>
                      <a:pt x="20041" y="20748"/>
                      <a:pt x="20041" y="20748"/>
                    </a:cubicBezTo>
                    <a:close/>
                  </a:path>
                </a:pathLst>
              </a:custGeom>
              <a:solidFill>
                <a:schemeClr val="accent5"/>
              </a:solidFill>
              <a:ln w="12700" cap="flat">
                <a:noFill/>
                <a:miter lim="400000"/>
              </a:ln>
              <a:effectLst/>
            </p:spPr>
            <p:txBody>
              <a:bodyPr wrap="square" lIns="20092" tIns="20092" rIns="20092" bIns="20092" numCol="1" anchor="ctr">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grpSp>
        <p:grpSp>
          <p:nvGrpSpPr>
            <p:cNvPr id="45" name="Group 63898">
              <a:extLst>
                <a:ext uri="{FF2B5EF4-FFF2-40B4-BE49-F238E27FC236}">
                  <a16:creationId xmlns:a16="http://schemas.microsoft.com/office/drawing/2014/main" id="{FAF84446-A501-7A47-8DF5-3BCD51EA3BED}"/>
                </a:ext>
              </a:extLst>
            </p:cNvPr>
            <p:cNvGrpSpPr/>
            <p:nvPr/>
          </p:nvGrpSpPr>
          <p:grpSpPr>
            <a:xfrm>
              <a:off x="5957634" y="1855460"/>
              <a:ext cx="770609" cy="960386"/>
              <a:chOff x="0" y="0"/>
              <a:chExt cx="1270000" cy="1582765"/>
            </a:xfrm>
          </p:grpSpPr>
          <p:sp>
            <p:nvSpPr>
              <p:cNvPr id="47" name="Shape 63896">
                <a:extLst>
                  <a:ext uri="{FF2B5EF4-FFF2-40B4-BE49-F238E27FC236}">
                    <a16:creationId xmlns:a16="http://schemas.microsoft.com/office/drawing/2014/main" id="{AE92ABF2-1DE1-B244-9C6B-C450F499EE7D}"/>
                  </a:ext>
                </a:extLst>
              </p:cNvPr>
              <p:cNvSpPr/>
              <p:nvPr/>
            </p:nvSpPr>
            <p:spPr>
              <a:xfrm>
                <a:off x="0" y="0"/>
                <a:ext cx="1270000" cy="1582766"/>
              </a:xfrm>
              <a:custGeom>
                <a:avLst/>
                <a:gdLst/>
                <a:ahLst/>
                <a:cxnLst>
                  <a:cxn ang="0">
                    <a:pos x="wd2" y="hd2"/>
                  </a:cxn>
                  <a:cxn ang="5400000">
                    <a:pos x="wd2" y="hd2"/>
                  </a:cxn>
                  <a:cxn ang="10800000">
                    <a:pos x="wd2" y="hd2"/>
                  </a:cxn>
                  <a:cxn ang="16200000">
                    <a:pos x="wd2" y="hd2"/>
                  </a:cxn>
                </a:cxnLst>
                <a:rect l="0" t="0" r="r" b="b"/>
                <a:pathLst>
                  <a:path w="21600" h="21597" extrusionOk="0">
                    <a:moveTo>
                      <a:pt x="2923" y="1"/>
                    </a:moveTo>
                    <a:cubicBezTo>
                      <a:pt x="2503" y="1"/>
                      <a:pt x="2191" y="-3"/>
                      <a:pt x="1924" y="11"/>
                    </a:cubicBezTo>
                    <a:cubicBezTo>
                      <a:pt x="1656" y="26"/>
                      <a:pt x="1433" y="57"/>
                      <a:pt x="1208" y="114"/>
                    </a:cubicBezTo>
                    <a:cubicBezTo>
                      <a:pt x="960" y="187"/>
                      <a:pt x="744" y="298"/>
                      <a:pt x="560" y="445"/>
                    </a:cubicBezTo>
                    <a:cubicBezTo>
                      <a:pt x="374" y="593"/>
                      <a:pt x="231" y="772"/>
                      <a:pt x="142" y="970"/>
                    </a:cubicBezTo>
                    <a:cubicBezTo>
                      <a:pt x="70" y="1152"/>
                      <a:pt x="38" y="1330"/>
                      <a:pt x="20" y="1544"/>
                    </a:cubicBezTo>
                    <a:cubicBezTo>
                      <a:pt x="2" y="1758"/>
                      <a:pt x="0" y="2009"/>
                      <a:pt x="0" y="2345"/>
                    </a:cubicBezTo>
                    <a:lnTo>
                      <a:pt x="0" y="19236"/>
                    </a:lnTo>
                    <a:cubicBezTo>
                      <a:pt x="0" y="19578"/>
                      <a:pt x="2" y="19832"/>
                      <a:pt x="20" y="20048"/>
                    </a:cubicBezTo>
                    <a:cubicBezTo>
                      <a:pt x="38" y="20265"/>
                      <a:pt x="70" y="20441"/>
                      <a:pt x="142" y="20622"/>
                    </a:cubicBezTo>
                    <a:cubicBezTo>
                      <a:pt x="232" y="20819"/>
                      <a:pt x="375" y="20999"/>
                      <a:pt x="560" y="21148"/>
                    </a:cubicBezTo>
                    <a:cubicBezTo>
                      <a:pt x="744" y="21295"/>
                      <a:pt x="961" y="21411"/>
                      <a:pt x="1208" y="21483"/>
                    </a:cubicBezTo>
                    <a:cubicBezTo>
                      <a:pt x="1435" y="21541"/>
                      <a:pt x="1657" y="21566"/>
                      <a:pt x="1924" y="21581"/>
                    </a:cubicBezTo>
                    <a:cubicBezTo>
                      <a:pt x="2191" y="21595"/>
                      <a:pt x="2503" y="21597"/>
                      <a:pt x="2923" y="21597"/>
                    </a:cubicBezTo>
                    <a:lnTo>
                      <a:pt x="18657" y="21597"/>
                    </a:lnTo>
                    <a:cubicBezTo>
                      <a:pt x="19083" y="21597"/>
                      <a:pt x="19407" y="21595"/>
                      <a:pt x="19676" y="21581"/>
                    </a:cubicBezTo>
                    <a:cubicBezTo>
                      <a:pt x="19946" y="21566"/>
                      <a:pt x="20165" y="21541"/>
                      <a:pt x="20392" y="21483"/>
                    </a:cubicBezTo>
                    <a:cubicBezTo>
                      <a:pt x="20640" y="21411"/>
                      <a:pt x="20856" y="21295"/>
                      <a:pt x="21040" y="21148"/>
                    </a:cubicBezTo>
                    <a:cubicBezTo>
                      <a:pt x="21225" y="20999"/>
                      <a:pt x="21368" y="20819"/>
                      <a:pt x="21458" y="20622"/>
                    </a:cubicBezTo>
                    <a:cubicBezTo>
                      <a:pt x="21530" y="20441"/>
                      <a:pt x="21562" y="20264"/>
                      <a:pt x="21580" y="20048"/>
                    </a:cubicBezTo>
                    <a:cubicBezTo>
                      <a:pt x="21598" y="19832"/>
                      <a:pt x="21600" y="19578"/>
                      <a:pt x="21600" y="19241"/>
                    </a:cubicBezTo>
                    <a:lnTo>
                      <a:pt x="21600" y="6434"/>
                    </a:lnTo>
                    <a:lnTo>
                      <a:pt x="13574" y="1"/>
                    </a:lnTo>
                    <a:lnTo>
                      <a:pt x="2943" y="1"/>
                    </a:lnTo>
                    <a:lnTo>
                      <a:pt x="2923" y="1"/>
                    </a:lnTo>
                    <a:close/>
                  </a:path>
                </a:pathLst>
              </a:custGeom>
              <a:solidFill>
                <a:schemeClr val="accent1">
                  <a:lumMod val="90000"/>
                  <a:lumOff val="10000"/>
                </a:schemeClr>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48" name="Shape 63897">
                <a:extLst>
                  <a:ext uri="{FF2B5EF4-FFF2-40B4-BE49-F238E27FC236}">
                    <a16:creationId xmlns:a16="http://schemas.microsoft.com/office/drawing/2014/main" id="{39F727E2-6A70-C245-A659-5E8C11F3D399}"/>
                  </a:ext>
                </a:extLst>
              </p:cNvPr>
              <p:cNvSpPr/>
              <p:nvPr/>
            </p:nvSpPr>
            <p:spPr>
              <a:xfrm>
                <a:off x="795653" y="0"/>
                <a:ext cx="474348" cy="473419"/>
              </a:xfrm>
              <a:custGeom>
                <a:avLst/>
                <a:gdLst/>
                <a:ahLst/>
                <a:cxnLst>
                  <a:cxn ang="0">
                    <a:pos x="wd2" y="hd2"/>
                  </a:cxn>
                  <a:cxn ang="5400000">
                    <a:pos x="wd2" y="hd2"/>
                  </a:cxn>
                  <a:cxn ang="10800000">
                    <a:pos x="wd2" y="hd2"/>
                  </a:cxn>
                  <a:cxn ang="16200000">
                    <a:pos x="wd2" y="hd2"/>
                  </a:cxn>
                </a:cxnLst>
                <a:rect l="0" t="0" r="r" b="b"/>
                <a:pathLst>
                  <a:path w="21600" h="21600" extrusionOk="0">
                    <a:moveTo>
                      <a:pt x="21600" y="21508"/>
                    </a:moveTo>
                    <a:lnTo>
                      <a:pt x="112" y="0"/>
                    </a:lnTo>
                    <a:lnTo>
                      <a:pt x="0" y="13709"/>
                    </a:lnTo>
                    <a:cubicBezTo>
                      <a:pt x="0" y="14852"/>
                      <a:pt x="0" y="15710"/>
                      <a:pt x="48" y="16433"/>
                    </a:cubicBezTo>
                    <a:cubicBezTo>
                      <a:pt x="95" y="17156"/>
                      <a:pt x="191" y="17746"/>
                      <a:pt x="383" y="18353"/>
                    </a:cubicBezTo>
                    <a:cubicBezTo>
                      <a:pt x="624" y="19018"/>
                      <a:pt x="1002" y="19607"/>
                      <a:pt x="1495" y="20102"/>
                    </a:cubicBezTo>
                    <a:cubicBezTo>
                      <a:pt x="1989" y="20596"/>
                      <a:pt x="2577" y="20974"/>
                      <a:pt x="3241" y="21216"/>
                    </a:cubicBezTo>
                    <a:cubicBezTo>
                      <a:pt x="3847" y="21409"/>
                      <a:pt x="4432" y="21505"/>
                      <a:pt x="5147" y="21552"/>
                    </a:cubicBezTo>
                    <a:cubicBezTo>
                      <a:pt x="5862" y="21600"/>
                      <a:pt x="6707" y="21600"/>
                      <a:pt x="7831" y="21600"/>
                    </a:cubicBezTo>
                    <a:lnTo>
                      <a:pt x="21600" y="21508"/>
                    </a:lnTo>
                    <a:close/>
                  </a:path>
                </a:pathLst>
              </a:custGeom>
              <a:solidFill>
                <a:schemeClr val="accent1"/>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grpSp>
        <p:grpSp>
          <p:nvGrpSpPr>
            <p:cNvPr id="41" name="Group 63903">
              <a:extLst>
                <a:ext uri="{FF2B5EF4-FFF2-40B4-BE49-F238E27FC236}">
                  <a16:creationId xmlns:a16="http://schemas.microsoft.com/office/drawing/2014/main" id="{E830FBD6-D8AC-3648-9DB2-4243DC4BB31C}"/>
                </a:ext>
              </a:extLst>
            </p:cNvPr>
            <p:cNvGrpSpPr/>
            <p:nvPr/>
          </p:nvGrpSpPr>
          <p:grpSpPr>
            <a:xfrm>
              <a:off x="7176286" y="2367151"/>
              <a:ext cx="770609" cy="960386"/>
              <a:chOff x="0" y="0"/>
              <a:chExt cx="1270000" cy="1582765"/>
            </a:xfrm>
          </p:grpSpPr>
          <p:sp>
            <p:nvSpPr>
              <p:cNvPr id="43" name="Shape 63901">
                <a:extLst>
                  <a:ext uri="{FF2B5EF4-FFF2-40B4-BE49-F238E27FC236}">
                    <a16:creationId xmlns:a16="http://schemas.microsoft.com/office/drawing/2014/main" id="{A8C8A0ED-C3ED-BC46-8FAC-B506AC9093B1}"/>
                  </a:ext>
                </a:extLst>
              </p:cNvPr>
              <p:cNvSpPr/>
              <p:nvPr/>
            </p:nvSpPr>
            <p:spPr>
              <a:xfrm>
                <a:off x="0" y="0"/>
                <a:ext cx="1270000" cy="1582766"/>
              </a:xfrm>
              <a:custGeom>
                <a:avLst/>
                <a:gdLst/>
                <a:ahLst/>
                <a:cxnLst>
                  <a:cxn ang="0">
                    <a:pos x="wd2" y="hd2"/>
                  </a:cxn>
                  <a:cxn ang="5400000">
                    <a:pos x="wd2" y="hd2"/>
                  </a:cxn>
                  <a:cxn ang="10800000">
                    <a:pos x="wd2" y="hd2"/>
                  </a:cxn>
                  <a:cxn ang="16200000">
                    <a:pos x="wd2" y="hd2"/>
                  </a:cxn>
                </a:cxnLst>
                <a:rect l="0" t="0" r="r" b="b"/>
                <a:pathLst>
                  <a:path w="21600" h="21597" extrusionOk="0">
                    <a:moveTo>
                      <a:pt x="2923" y="1"/>
                    </a:moveTo>
                    <a:cubicBezTo>
                      <a:pt x="2503" y="1"/>
                      <a:pt x="2191" y="-3"/>
                      <a:pt x="1924" y="11"/>
                    </a:cubicBezTo>
                    <a:cubicBezTo>
                      <a:pt x="1656" y="26"/>
                      <a:pt x="1433" y="57"/>
                      <a:pt x="1208" y="114"/>
                    </a:cubicBezTo>
                    <a:cubicBezTo>
                      <a:pt x="960" y="187"/>
                      <a:pt x="744" y="298"/>
                      <a:pt x="560" y="445"/>
                    </a:cubicBezTo>
                    <a:cubicBezTo>
                      <a:pt x="374" y="593"/>
                      <a:pt x="231" y="772"/>
                      <a:pt x="142" y="970"/>
                    </a:cubicBezTo>
                    <a:cubicBezTo>
                      <a:pt x="70" y="1152"/>
                      <a:pt x="38" y="1330"/>
                      <a:pt x="20" y="1544"/>
                    </a:cubicBezTo>
                    <a:cubicBezTo>
                      <a:pt x="2" y="1758"/>
                      <a:pt x="0" y="2009"/>
                      <a:pt x="0" y="2345"/>
                    </a:cubicBezTo>
                    <a:lnTo>
                      <a:pt x="0" y="19236"/>
                    </a:lnTo>
                    <a:cubicBezTo>
                      <a:pt x="0" y="19578"/>
                      <a:pt x="2" y="19832"/>
                      <a:pt x="20" y="20048"/>
                    </a:cubicBezTo>
                    <a:cubicBezTo>
                      <a:pt x="38" y="20265"/>
                      <a:pt x="70" y="20441"/>
                      <a:pt x="142" y="20622"/>
                    </a:cubicBezTo>
                    <a:cubicBezTo>
                      <a:pt x="232" y="20819"/>
                      <a:pt x="375" y="20999"/>
                      <a:pt x="560" y="21148"/>
                    </a:cubicBezTo>
                    <a:cubicBezTo>
                      <a:pt x="744" y="21295"/>
                      <a:pt x="961" y="21411"/>
                      <a:pt x="1208" y="21483"/>
                    </a:cubicBezTo>
                    <a:cubicBezTo>
                      <a:pt x="1435" y="21541"/>
                      <a:pt x="1657" y="21566"/>
                      <a:pt x="1924" y="21581"/>
                    </a:cubicBezTo>
                    <a:cubicBezTo>
                      <a:pt x="2191" y="21595"/>
                      <a:pt x="2503" y="21597"/>
                      <a:pt x="2923" y="21597"/>
                    </a:cubicBezTo>
                    <a:lnTo>
                      <a:pt x="18657" y="21597"/>
                    </a:lnTo>
                    <a:cubicBezTo>
                      <a:pt x="19083" y="21597"/>
                      <a:pt x="19407" y="21595"/>
                      <a:pt x="19676" y="21581"/>
                    </a:cubicBezTo>
                    <a:cubicBezTo>
                      <a:pt x="19946" y="21566"/>
                      <a:pt x="20165" y="21541"/>
                      <a:pt x="20392" y="21483"/>
                    </a:cubicBezTo>
                    <a:cubicBezTo>
                      <a:pt x="20640" y="21411"/>
                      <a:pt x="20856" y="21295"/>
                      <a:pt x="21040" y="21148"/>
                    </a:cubicBezTo>
                    <a:cubicBezTo>
                      <a:pt x="21225" y="20999"/>
                      <a:pt x="21368" y="20819"/>
                      <a:pt x="21458" y="20622"/>
                    </a:cubicBezTo>
                    <a:cubicBezTo>
                      <a:pt x="21530" y="20441"/>
                      <a:pt x="21562" y="20264"/>
                      <a:pt x="21580" y="20048"/>
                    </a:cubicBezTo>
                    <a:cubicBezTo>
                      <a:pt x="21598" y="19832"/>
                      <a:pt x="21600" y="19578"/>
                      <a:pt x="21600" y="19241"/>
                    </a:cubicBezTo>
                    <a:lnTo>
                      <a:pt x="21600" y="6434"/>
                    </a:lnTo>
                    <a:lnTo>
                      <a:pt x="13574" y="1"/>
                    </a:lnTo>
                    <a:lnTo>
                      <a:pt x="2943" y="1"/>
                    </a:lnTo>
                    <a:lnTo>
                      <a:pt x="2923" y="1"/>
                    </a:lnTo>
                    <a:close/>
                  </a:path>
                </a:pathLst>
              </a:custGeom>
              <a:solidFill>
                <a:schemeClr val="accent2"/>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44" name="Shape 63902">
                <a:extLst>
                  <a:ext uri="{FF2B5EF4-FFF2-40B4-BE49-F238E27FC236}">
                    <a16:creationId xmlns:a16="http://schemas.microsoft.com/office/drawing/2014/main" id="{FD7918B3-069B-A848-AA49-D47798CA5400}"/>
                  </a:ext>
                </a:extLst>
              </p:cNvPr>
              <p:cNvSpPr/>
              <p:nvPr/>
            </p:nvSpPr>
            <p:spPr>
              <a:xfrm>
                <a:off x="795653" y="0"/>
                <a:ext cx="474348" cy="473419"/>
              </a:xfrm>
              <a:custGeom>
                <a:avLst/>
                <a:gdLst/>
                <a:ahLst/>
                <a:cxnLst>
                  <a:cxn ang="0">
                    <a:pos x="wd2" y="hd2"/>
                  </a:cxn>
                  <a:cxn ang="5400000">
                    <a:pos x="wd2" y="hd2"/>
                  </a:cxn>
                  <a:cxn ang="10800000">
                    <a:pos x="wd2" y="hd2"/>
                  </a:cxn>
                  <a:cxn ang="16200000">
                    <a:pos x="wd2" y="hd2"/>
                  </a:cxn>
                </a:cxnLst>
                <a:rect l="0" t="0" r="r" b="b"/>
                <a:pathLst>
                  <a:path w="21600" h="21600" extrusionOk="0">
                    <a:moveTo>
                      <a:pt x="21600" y="21508"/>
                    </a:moveTo>
                    <a:lnTo>
                      <a:pt x="112" y="0"/>
                    </a:lnTo>
                    <a:lnTo>
                      <a:pt x="0" y="13709"/>
                    </a:lnTo>
                    <a:cubicBezTo>
                      <a:pt x="0" y="14852"/>
                      <a:pt x="0" y="15710"/>
                      <a:pt x="48" y="16433"/>
                    </a:cubicBezTo>
                    <a:cubicBezTo>
                      <a:pt x="95" y="17156"/>
                      <a:pt x="191" y="17746"/>
                      <a:pt x="383" y="18353"/>
                    </a:cubicBezTo>
                    <a:cubicBezTo>
                      <a:pt x="624" y="19018"/>
                      <a:pt x="1002" y="19607"/>
                      <a:pt x="1495" y="20102"/>
                    </a:cubicBezTo>
                    <a:cubicBezTo>
                      <a:pt x="1989" y="20596"/>
                      <a:pt x="2577" y="20974"/>
                      <a:pt x="3241" y="21216"/>
                    </a:cubicBezTo>
                    <a:cubicBezTo>
                      <a:pt x="3847" y="21409"/>
                      <a:pt x="4432" y="21505"/>
                      <a:pt x="5147" y="21552"/>
                    </a:cubicBezTo>
                    <a:cubicBezTo>
                      <a:pt x="5862" y="21600"/>
                      <a:pt x="6707" y="21600"/>
                      <a:pt x="7831" y="21600"/>
                    </a:cubicBezTo>
                    <a:lnTo>
                      <a:pt x="21600" y="21508"/>
                    </a:lnTo>
                    <a:close/>
                  </a:path>
                </a:pathLst>
              </a:custGeom>
              <a:solidFill>
                <a:schemeClr val="accent2">
                  <a:lumMod val="75000"/>
                </a:schemeClr>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grpSp>
        <p:grpSp>
          <p:nvGrpSpPr>
            <p:cNvPr id="37" name="Group 63908">
              <a:extLst>
                <a:ext uri="{FF2B5EF4-FFF2-40B4-BE49-F238E27FC236}">
                  <a16:creationId xmlns:a16="http://schemas.microsoft.com/office/drawing/2014/main" id="{6C5368E1-45B6-7148-8CC0-B6BA7723DE5C}"/>
                </a:ext>
              </a:extLst>
            </p:cNvPr>
            <p:cNvGrpSpPr/>
            <p:nvPr/>
          </p:nvGrpSpPr>
          <p:grpSpPr>
            <a:xfrm>
              <a:off x="7713625" y="3554956"/>
              <a:ext cx="770609" cy="960387"/>
              <a:chOff x="0" y="0"/>
              <a:chExt cx="1270000" cy="1582765"/>
            </a:xfrm>
          </p:grpSpPr>
          <p:sp>
            <p:nvSpPr>
              <p:cNvPr id="39" name="Shape 63906">
                <a:extLst>
                  <a:ext uri="{FF2B5EF4-FFF2-40B4-BE49-F238E27FC236}">
                    <a16:creationId xmlns:a16="http://schemas.microsoft.com/office/drawing/2014/main" id="{33BD7DE0-5ED5-8A4B-B0CD-1C20C7365123}"/>
                  </a:ext>
                </a:extLst>
              </p:cNvPr>
              <p:cNvSpPr/>
              <p:nvPr/>
            </p:nvSpPr>
            <p:spPr>
              <a:xfrm>
                <a:off x="0" y="0"/>
                <a:ext cx="1270000" cy="1582766"/>
              </a:xfrm>
              <a:custGeom>
                <a:avLst/>
                <a:gdLst/>
                <a:ahLst/>
                <a:cxnLst>
                  <a:cxn ang="0">
                    <a:pos x="wd2" y="hd2"/>
                  </a:cxn>
                  <a:cxn ang="5400000">
                    <a:pos x="wd2" y="hd2"/>
                  </a:cxn>
                  <a:cxn ang="10800000">
                    <a:pos x="wd2" y="hd2"/>
                  </a:cxn>
                  <a:cxn ang="16200000">
                    <a:pos x="wd2" y="hd2"/>
                  </a:cxn>
                </a:cxnLst>
                <a:rect l="0" t="0" r="r" b="b"/>
                <a:pathLst>
                  <a:path w="21600" h="21597" extrusionOk="0">
                    <a:moveTo>
                      <a:pt x="2923" y="1"/>
                    </a:moveTo>
                    <a:cubicBezTo>
                      <a:pt x="2503" y="1"/>
                      <a:pt x="2191" y="-3"/>
                      <a:pt x="1924" y="11"/>
                    </a:cubicBezTo>
                    <a:cubicBezTo>
                      <a:pt x="1656" y="26"/>
                      <a:pt x="1433" y="57"/>
                      <a:pt x="1208" y="114"/>
                    </a:cubicBezTo>
                    <a:cubicBezTo>
                      <a:pt x="960" y="187"/>
                      <a:pt x="744" y="298"/>
                      <a:pt x="560" y="445"/>
                    </a:cubicBezTo>
                    <a:cubicBezTo>
                      <a:pt x="374" y="593"/>
                      <a:pt x="231" y="772"/>
                      <a:pt x="142" y="970"/>
                    </a:cubicBezTo>
                    <a:cubicBezTo>
                      <a:pt x="70" y="1152"/>
                      <a:pt x="38" y="1330"/>
                      <a:pt x="20" y="1544"/>
                    </a:cubicBezTo>
                    <a:cubicBezTo>
                      <a:pt x="2" y="1758"/>
                      <a:pt x="0" y="2009"/>
                      <a:pt x="0" y="2345"/>
                    </a:cubicBezTo>
                    <a:lnTo>
                      <a:pt x="0" y="19236"/>
                    </a:lnTo>
                    <a:cubicBezTo>
                      <a:pt x="0" y="19578"/>
                      <a:pt x="2" y="19832"/>
                      <a:pt x="20" y="20048"/>
                    </a:cubicBezTo>
                    <a:cubicBezTo>
                      <a:pt x="38" y="20265"/>
                      <a:pt x="70" y="20441"/>
                      <a:pt x="142" y="20622"/>
                    </a:cubicBezTo>
                    <a:cubicBezTo>
                      <a:pt x="232" y="20819"/>
                      <a:pt x="375" y="20999"/>
                      <a:pt x="560" y="21148"/>
                    </a:cubicBezTo>
                    <a:cubicBezTo>
                      <a:pt x="744" y="21295"/>
                      <a:pt x="961" y="21411"/>
                      <a:pt x="1208" y="21483"/>
                    </a:cubicBezTo>
                    <a:cubicBezTo>
                      <a:pt x="1435" y="21541"/>
                      <a:pt x="1657" y="21566"/>
                      <a:pt x="1924" y="21581"/>
                    </a:cubicBezTo>
                    <a:cubicBezTo>
                      <a:pt x="2191" y="21595"/>
                      <a:pt x="2503" y="21597"/>
                      <a:pt x="2923" y="21597"/>
                    </a:cubicBezTo>
                    <a:lnTo>
                      <a:pt x="18657" y="21597"/>
                    </a:lnTo>
                    <a:cubicBezTo>
                      <a:pt x="19083" y="21597"/>
                      <a:pt x="19407" y="21595"/>
                      <a:pt x="19676" y="21581"/>
                    </a:cubicBezTo>
                    <a:cubicBezTo>
                      <a:pt x="19946" y="21566"/>
                      <a:pt x="20165" y="21541"/>
                      <a:pt x="20392" y="21483"/>
                    </a:cubicBezTo>
                    <a:cubicBezTo>
                      <a:pt x="20640" y="21411"/>
                      <a:pt x="20856" y="21295"/>
                      <a:pt x="21040" y="21148"/>
                    </a:cubicBezTo>
                    <a:cubicBezTo>
                      <a:pt x="21225" y="20999"/>
                      <a:pt x="21368" y="20819"/>
                      <a:pt x="21458" y="20622"/>
                    </a:cubicBezTo>
                    <a:cubicBezTo>
                      <a:pt x="21530" y="20441"/>
                      <a:pt x="21562" y="20264"/>
                      <a:pt x="21580" y="20048"/>
                    </a:cubicBezTo>
                    <a:cubicBezTo>
                      <a:pt x="21598" y="19832"/>
                      <a:pt x="21600" y="19578"/>
                      <a:pt x="21600" y="19241"/>
                    </a:cubicBezTo>
                    <a:lnTo>
                      <a:pt x="21600" y="6434"/>
                    </a:lnTo>
                    <a:lnTo>
                      <a:pt x="13574" y="1"/>
                    </a:lnTo>
                    <a:lnTo>
                      <a:pt x="2943" y="1"/>
                    </a:lnTo>
                    <a:lnTo>
                      <a:pt x="2923" y="1"/>
                    </a:lnTo>
                    <a:close/>
                  </a:path>
                </a:pathLst>
              </a:custGeom>
              <a:solidFill>
                <a:schemeClr val="accent3"/>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40" name="Shape 63907">
                <a:extLst>
                  <a:ext uri="{FF2B5EF4-FFF2-40B4-BE49-F238E27FC236}">
                    <a16:creationId xmlns:a16="http://schemas.microsoft.com/office/drawing/2014/main" id="{21D9CC0E-F65D-514C-B4F3-EB393B73FBA1}"/>
                  </a:ext>
                </a:extLst>
              </p:cNvPr>
              <p:cNvSpPr/>
              <p:nvPr/>
            </p:nvSpPr>
            <p:spPr>
              <a:xfrm>
                <a:off x="795653" y="0"/>
                <a:ext cx="474348" cy="473419"/>
              </a:xfrm>
              <a:custGeom>
                <a:avLst/>
                <a:gdLst/>
                <a:ahLst/>
                <a:cxnLst>
                  <a:cxn ang="0">
                    <a:pos x="wd2" y="hd2"/>
                  </a:cxn>
                  <a:cxn ang="5400000">
                    <a:pos x="wd2" y="hd2"/>
                  </a:cxn>
                  <a:cxn ang="10800000">
                    <a:pos x="wd2" y="hd2"/>
                  </a:cxn>
                  <a:cxn ang="16200000">
                    <a:pos x="wd2" y="hd2"/>
                  </a:cxn>
                </a:cxnLst>
                <a:rect l="0" t="0" r="r" b="b"/>
                <a:pathLst>
                  <a:path w="21600" h="21600" extrusionOk="0">
                    <a:moveTo>
                      <a:pt x="21600" y="21508"/>
                    </a:moveTo>
                    <a:lnTo>
                      <a:pt x="112" y="0"/>
                    </a:lnTo>
                    <a:lnTo>
                      <a:pt x="0" y="13709"/>
                    </a:lnTo>
                    <a:cubicBezTo>
                      <a:pt x="0" y="14852"/>
                      <a:pt x="0" y="15710"/>
                      <a:pt x="48" y="16433"/>
                    </a:cubicBezTo>
                    <a:cubicBezTo>
                      <a:pt x="95" y="17156"/>
                      <a:pt x="191" y="17746"/>
                      <a:pt x="383" y="18353"/>
                    </a:cubicBezTo>
                    <a:cubicBezTo>
                      <a:pt x="624" y="19018"/>
                      <a:pt x="1002" y="19607"/>
                      <a:pt x="1495" y="20102"/>
                    </a:cubicBezTo>
                    <a:cubicBezTo>
                      <a:pt x="1989" y="20596"/>
                      <a:pt x="2577" y="20974"/>
                      <a:pt x="3241" y="21216"/>
                    </a:cubicBezTo>
                    <a:cubicBezTo>
                      <a:pt x="3847" y="21409"/>
                      <a:pt x="4432" y="21505"/>
                      <a:pt x="5147" y="21552"/>
                    </a:cubicBezTo>
                    <a:cubicBezTo>
                      <a:pt x="5862" y="21600"/>
                      <a:pt x="6707" y="21600"/>
                      <a:pt x="7831" y="21600"/>
                    </a:cubicBezTo>
                    <a:lnTo>
                      <a:pt x="21600" y="21508"/>
                    </a:lnTo>
                    <a:close/>
                  </a:path>
                </a:pathLst>
              </a:custGeom>
              <a:solidFill>
                <a:schemeClr val="accent3">
                  <a:lumMod val="75000"/>
                </a:schemeClr>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grpSp>
        <p:grpSp>
          <p:nvGrpSpPr>
            <p:cNvPr id="33" name="Group 63913">
              <a:extLst>
                <a:ext uri="{FF2B5EF4-FFF2-40B4-BE49-F238E27FC236}">
                  <a16:creationId xmlns:a16="http://schemas.microsoft.com/office/drawing/2014/main" id="{A5B9ED38-8D8B-F54D-9CD7-8799C5279D16}"/>
                </a:ext>
              </a:extLst>
            </p:cNvPr>
            <p:cNvGrpSpPr/>
            <p:nvPr/>
          </p:nvGrpSpPr>
          <p:grpSpPr>
            <a:xfrm>
              <a:off x="6959333" y="4742762"/>
              <a:ext cx="770609" cy="960387"/>
              <a:chOff x="0" y="0"/>
              <a:chExt cx="1270000" cy="1582765"/>
            </a:xfrm>
          </p:grpSpPr>
          <p:sp>
            <p:nvSpPr>
              <p:cNvPr id="35" name="Shape 63911">
                <a:extLst>
                  <a:ext uri="{FF2B5EF4-FFF2-40B4-BE49-F238E27FC236}">
                    <a16:creationId xmlns:a16="http://schemas.microsoft.com/office/drawing/2014/main" id="{72F1C383-F2F5-3D42-8DB5-166958CAF4A1}"/>
                  </a:ext>
                </a:extLst>
              </p:cNvPr>
              <p:cNvSpPr/>
              <p:nvPr/>
            </p:nvSpPr>
            <p:spPr>
              <a:xfrm>
                <a:off x="0" y="0"/>
                <a:ext cx="1270000" cy="1582766"/>
              </a:xfrm>
              <a:custGeom>
                <a:avLst/>
                <a:gdLst/>
                <a:ahLst/>
                <a:cxnLst>
                  <a:cxn ang="0">
                    <a:pos x="wd2" y="hd2"/>
                  </a:cxn>
                  <a:cxn ang="5400000">
                    <a:pos x="wd2" y="hd2"/>
                  </a:cxn>
                  <a:cxn ang="10800000">
                    <a:pos x="wd2" y="hd2"/>
                  </a:cxn>
                  <a:cxn ang="16200000">
                    <a:pos x="wd2" y="hd2"/>
                  </a:cxn>
                </a:cxnLst>
                <a:rect l="0" t="0" r="r" b="b"/>
                <a:pathLst>
                  <a:path w="21600" h="21597" extrusionOk="0">
                    <a:moveTo>
                      <a:pt x="2923" y="1"/>
                    </a:moveTo>
                    <a:cubicBezTo>
                      <a:pt x="2503" y="1"/>
                      <a:pt x="2191" y="-3"/>
                      <a:pt x="1924" y="11"/>
                    </a:cubicBezTo>
                    <a:cubicBezTo>
                      <a:pt x="1656" y="26"/>
                      <a:pt x="1433" y="57"/>
                      <a:pt x="1208" y="114"/>
                    </a:cubicBezTo>
                    <a:cubicBezTo>
                      <a:pt x="960" y="187"/>
                      <a:pt x="744" y="298"/>
                      <a:pt x="560" y="445"/>
                    </a:cubicBezTo>
                    <a:cubicBezTo>
                      <a:pt x="374" y="593"/>
                      <a:pt x="231" y="772"/>
                      <a:pt x="142" y="970"/>
                    </a:cubicBezTo>
                    <a:cubicBezTo>
                      <a:pt x="70" y="1152"/>
                      <a:pt x="38" y="1330"/>
                      <a:pt x="20" y="1544"/>
                    </a:cubicBezTo>
                    <a:cubicBezTo>
                      <a:pt x="2" y="1758"/>
                      <a:pt x="0" y="2009"/>
                      <a:pt x="0" y="2345"/>
                    </a:cubicBezTo>
                    <a:lnTo>
                      <a:pt x="0" y="19236"/>
                    </a:lnTo>
                    <a:cubicBezTo>
                      <a:pt x="0" y="19578"/>
                      <a:pt x="2" y="19832"/>
                      <a:pt x="20" y="20048"/>
                    </a:cubicBezTo>
                    <a:cubicBezTo>
                      <a:pt x="38" y="20265"/>
                      <a:pt x="70" y="20441"/>
                      <a:pt x="142" y="20622"/>
                    </a:cubicBezTo>
                    <a:cubicBezTo>
                      <a:pt x="232" y="20819"/>
                      <a:pt x="375" y="20999"/>
                      <a:pt x="560" y="21148"/>
                    </a:cubicBezTo>
                    <a:cubicBezTo>
                      <a:pt x="744" y="21295"/>
                      <a:pt x="961" y="21411"/>
                      <a:pt x="1208" y="21483"/>
                    </a:cubicBezTo>
                    <a:cubicBezTo>
                      <a:pt x="1435" y="21541"/>
                      <a:pt x="1657" y="21566"/>
                      <a:pt x="1924" y="21581"/>
                    </a:cubicBezTo>
                    <a:cubicBezTo>
                      <a:pt x="2191" y="21595"/>
                      <a:pt x="2503" y="21597"/>
                      <a:pt x="2923" y="21597"/>
                    </a:cubicBezTo>
                    <a:lnTo>
                      <a:pt x="18657" y="21597"/>
                    </a:lnTo>
                    <a:cubicBezTo>
                      <a:pt x="19083" y="21597"/>
                      <a:pt x="19407" y="21595"/>
                      <a:pt x="19676" y="21581"/>
                    </a:cubicBezTo>
                    <a:cubicBezTo>
                      <a:pt x="19946" y="21566"/>
                      <a:pt x="20165" y="21541"/>
                      <a:pt x="20392" y="21483"/>
                    </a:cubicBezTo>
                    <a:cubicBezTo>
                      <a:pt x="20640" y="21411"/>
                      <a:pt x="20856" y="21295"/>
                      <a:pt x="21040" y="21148"/>
                    </a:cubicBezTo>
                    <a:cubicBezTo>
                      <a:pt x="21225" y="20999"/>
                      <a:pt x="21368" y="20819"/>
                      <a:pt x="21458" y="20622"/>
                    </a:cubicBezTo>
                    <a:cubicBezTo>
                      <a:pt x="21530" y="20441"/>
                      <a:pt x="21562" y="20264"/>
                      <a:pt x="21580" y="20048"/>
                    </a:cubicBezTo>
                    <a:cubicBezTo>
                      <a:pt x="21598" y="19832"/>
                      <a:pt x="21600" y="19578"/>
                      <a:pt x="21600" y="19241"/>
                    </a:cubicBezTo>
                    <a:lnTo>
                      <a:pt x="21600" y="6434"/>
                    </a:lnTo>
                    <a:lnTo>
                      <a:pt x="13574" y="1"/>
                    </a:lnTo>
                    <a:lnTo>
                      <a:pt x="2943" y="1"/>
                    </a:lnTo>
                    <a:lnTo>
                      <a:pt x="2923" y="1"/>
                    </a:lnTo>
                    <a:close/>
                  </a:path>
                </a:pathLst>
              </a:custGeom>
              <a:solidFill>
                <a:schemeClr val="accent4"/>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36" name="Shape 63912">
                <a:extLst>
                  <a:ext uri="{FF2B5EF4-FFF2-40B4-BE49-F238E27FC236}">
                    <a16:creationId xmlns:a16="http://schemas.microsoft.com/office/drawing/2014/main" id="{4EE70ADE-39DC-3348-BC75-A24AE1297CDA}"/>
                  </a:ext>
                </a:extLst>
              </p:cNvPr>
              <p:cNvSpPr/>
              <p:nvPr/>
            </p:nvSpPr>
            <p:spPr>
              <a:xfrm>
                <a:off x="795653" y="0"/>
                <a:ext cx="474348" cy="473419"/>
              </a:xfrm>
              <a:custGeom>
                <a:avLst/>
                <a:gdLst/>
                <a:ahLst/>
                <a:cxnLst>
                  <a:cxn ang="0">
                    <a:pos x="wd2" y="hd2"/>
                  </a:cxn>
                  <a:cxn ang="5400000">
                    <a:pos x="wd2" y="hd2"/>
                  </a:cxn>
                  <a:cxn ang="10800000">
                    <a:pos x="wd2" y="hd2"/>
                  </a:cxn>
                  <a:cxn ang="16200000">
                    <a:pos x="wd2" y="hd2"/>
                  </a:cxn>
                </a:cxnLst>
                <a:rect l="0" t="0" r="r" b="b"/>
                <a:pathLst>
                  <a:path w="21600" h="21600" extrusionOk="0">
                    <a:moveTo>
                      <a:pt x="21600" y="21508"/>
                    </a:moveTo>
                    <a:lnTo>
                      <a:pt x="112" y="0"/>
                    </a:lnTo>
                    <a:lnTo>
                      <a:pt x="0" y="13709"/>
                    </a:lnTo>
                    <a:cubicBezTo>
                      <a:pt x="0" y="14852"/>
                      <a:pt x="0" y="15710"/>
                      <a:pt x="48" y="16433"/>
                    </a:cubicBezTo>
                    <a:cubicBezTo>
                      <a:pt x="95" y="17156"/>
                      <a:pt x="191" y="17746"/>
                      <a:pt x="383" y="18353"/>
                    </a:cubicBezTo>
                    <a:cubicBezTo>
                      <a:pt x="624" y="19018"/>
                      <a:pt x="1002" y="19607"/>
                      <a:pt x="1495" y="20102"/>
                    </a:cubicBezTo>
                    <a:cubicBezTo>
                      <a:pt x="1989" y="20596"/>
                      <a:pt x="2577" y="20974"/>
                      <a:pt x="3241" y="21216"/>
                    </a:cubicBezTo>
                    <a:cubicBezTo>
                      <a:pt x="3847" y="21409"/>
                      <a:pt x="4432" y="21505"/>
                      <a:pt x="5147" y="21552"/>
                    </a:cubicBezTo>
                    <a:cubicBezTo>
                      <a:pt x="5862" y="21600"/>
                      <a:pt x="6707" y="21600"/>
                      <a:pt x="7831" y="21600"/>
                    </a:cubicBezTo>
                    <a:lnTo>
                      <a:pt x="21600" y="21508"/>
                    </a:lnTo>
                    <a:close/>
                  </a:path>
                </a:pathLst>
              </a:custGeom>
              <a:solidFill>
                <a:schemeClr val="accent4">
                  <a:lumMod val="75000"/>
                </a:schemeClr>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grpSp>
        <p:sp>
          <p:nvSpPr>
            <p:cNvPr id="65" name="Freeform 756">
              <a:extLst>
                <a:ext uri="{FF2B5EF4-FFF2-40B4-BE49-F238E27FC236}">
                  <a16:creationId xmlns:a16="http://schemas.microsoft.com/office/drawing/2014/main" id="{0172FCAA-2F6A-3F44-BDB4-7FE1A94C23D6}"/>
                </a:ext>
              </a:extLst>
            </p:cNvPr>
            <p:cNvSpPr>
              <a:spLocks noChangeArrowheads="1"/>
            </p:cNvSpPr>
            <p:nvPr/>
          </p:nvSpPr>
          <p:spPr bwMode="auto">
            <a:xfrm>
              <a:off x="7393239" y="2678993"/>
              <a:ext cx="336702" cy="336703"/>
            </a:xfrm>
            <a:custGeom>
              <a:avLst/>
              <a:gdLst>
                <a:gd name="T0" fmla="*/ 9383 w 306026"/>
                <a:gd name="T1" fmla="*/ 282598 h 305668"/>
                <a:gd name="T2" fmla="*/ 27066 w 306026"/>
                <a:gd name="T3" fmla="*/ 250157 h 305668"/>
                <a:gd name="T4" fmla="*/ 90942 w 306026"/>
                <a:gd name="T5" fmla="*/ 269261 h 305668"/>
                <a:gd name="T6" fmla="*/ 27066 w 306026"/>
                <a:gd name="T7" fmla="*/ 296656 h 305668"/>
                <a:gd name="T8" fmla="*/ 119451 w 306026"/>
                <a:gd name="T9" fmla="*/ 282598 h 305668"/>
                <a:gd name="T10" fmla="*/ 276073 w 306026"/>
                <a:gd name="T11" fmla="*/ 273227 h 305668"/>
                <a:gd name="T12" fmla="*/ 144352 w 306026"/>
                <a:gd name="T13" fmla="*/ 250157 h 305668"/>
                <a:gd name="T14" fmla="*/ 27066 w 306026"/>
                <a:gd name="T15" fmla="*/ 250157 h 305668"/>
                <a:gd name="T16" fmla="*/ 94551 w 306026"/>
                <a:gd name="T17" fmla="*/ 240785 h 305668"/>
                <a:gd name="T18" fmla="*/ 188749 w 306026"/>
                <a:gd name="T19" fmla="*/ 69367 h 305668"/>
                <a:gd name="T20" fmla="*/ 188749 w 306026"/>
                <a:gd name="T21" fmla="*/ 69367 h 305668"/>
                <a:gd name="T22" fmla="*/ 184068 w 306026"/>
                <a:gd name="T23" fmla="*/ 189778 h 305668"/>
                <a:gd name="T24" fmla="*/ 184068 w 306026"/>
                <a:gd name="T25" fmla="*/ 59965 h 305668"/>
                <a:gd name="T26" fmla="*/ 83003 w 306026"/>
                <a:gd name="T27" fmla="*/ 55511 h 305668"/>
                <a:gd name="T28" fmla="*/ 94551 w 306026"/>
                <a:gd name="T29" fmla="*/ 208344 h 305668"/>
                <a:gd name="T30" fmla="*/ 48358 w 306026"/>
                <a:gd name="T31" fmla="*/ 208344 h 305668"/>
                <a:gd name="T32" fmla="*/ 59906 w 306026"/>
                <a:gd name="T33" fmla="*/ 55511 h 305668"/>
                <a:gd name="T34" fmla="*/ 71454 w 306026"/>
                <a:gd name="T35" fmla="*/ 12256 h 305668"/>
                <a:gd name="T36" fmla="*/ 81920 w 306026"/>
                <a:gd name="T37" fmla="*/ 46499 h 305668"/>
                <a:gd name="T38" fmla="*/ 149044 w 306026"/>
                <a:gd name="T39" fmla="*/ 9372 h 305668"/>
                <a:gd name="T40" fmla="*/ 167088 w 306026"/>
                <a:gd name="T41" fmla="*/ 39290 h 305668"/>
                <a:gd name="T42" fmla="*/ 149044 w 306026"/>
                <a:gd name="T43" fmla="*/ 68848 h 305668"/>
                <a:gd name="T44" fmla="*/ 162396 w 306026"/>
                <a:gd name="T45" fmla="*/ 78220 h 305668"/>
                <a:gd name="T46" fmla="*/ 162396 w 306026"/>
                <a:gd name="T47" fmla="*/ 103091 h 305668"/>
                <a:gd name="T48" fmla="*/ 149044 w 306026"/>
                <a:gd name="T49" fmla="*/ 112463 h 305668"/>
                <a:gd name="T50" fmla="*/ 167088 w 306026"/>
                <a:gd name="T51" fmla="*/ 142381 h 305668"/>
                <a:gd name="T52" fmla="*/ 149044 w 306026"/>
                <a:gd name="T53" fmla="*/ 171938 h 305668"/>
                <a:gd name="T54" fmla="*/ 162396 w 306026"/>
                <a:gd name="T55" fmla="*/ 181310 h 305668"/>
                <a:gd name="T56" fmla="*/ 162396 w 306026"/>
                <a:gd name="T57" fmla="*/ 206542 h 305668"/>
                <a:gd name="T58" fmla="*/ 149044 w 306026"/>
                <a:gd name="T59" fmla="*/ 215553 h 305668"/>
                <a:gd name="T60" fmla="*/ 180440 w 306026"/>
                <a:gd name="T61" fmla="*/ 219158 h 305668"/>
                <a:gd name="T62" fmla="*/ 185132 w 306026"/>
                <a:gd name="T63" fmla="*/ 35686 h 305668"/>
                <a:gd name="T64" fmla="*/ 149044 w 306026"/>
                <a:gd name="T65" fmla="*/ 9372 h 305668"/>
                <a:gd name="T66" fmla="*/ 189823 w 306026"/>
                <a:gd name="T67" fmla="*/ 4686 h 305668"/>
                <a:gd name="T68" fmla="*/ 189823 w 306026"/>
                <a:gd name="T69" fmla="*/ 223844 h 305668"/>
                <a:gd name="T70" fmla="*/ 306026 w 306026"/>
                <a:gd name="T71" fmla="*/ 245471 h 305668"/>
                <a:gd name="T72" fmla="*/ 294117 w 306026"/>
                <a:gd name="T73" fmla="*/ 296656 h 305668"/>
                <a:gd name="T74" fmla="*/ 301335 w 306026"/>
                <a:gd name="T75" fmla="*/ 305668 h 305668"/>
                <a:gd name="T76" fmla="*/ 0 w 306026"/>
                <a:gd name="T77" fmla="*/ 263855 h 305668"/>
                <a:gd name="T78" fmla="*/ 38975 w 306026"/>
                <a:gd name="T79" fmla="*/ 41813 h 305668"/>
                <a:gd name="T80" fmla="*/ 39697 w 306026"/>
                <a:gd name="T81" fmla="*/ 39290 h 305668"/>
                <a:gd name="T82" fmla="*/ 102851 w 306026"/>
                <a:gd name="T83" fmla="*/ 39290 h 305668"/>
                <a:gd name="T84" fmla="*/ 103934 w 306026"/>
                <a:gd name="T85" fmla="*/ 240785 h 305668"/>
                <a:gd name="T86" fmla="*/ 144352 w 306026"/>
                <a:gd name="T87" fmla="*/ 0 h 305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026" h="305668">
                  <a:moveTo>
                    <a:pt x="17683" y="251599"/>
                  </a:moveTo>
                  <a:cubicBezTo>
                    <a:pt x="12631" y="253401"/>
                    <a:pt x="9383" y="258448"/>
                    <a:pt x="9383" y="263855"/>
                  </a:cubicBezTo>
                  <a:lnTo>
                    <a:pt x="9383" y="282598"/>
                  </a:lnTo>
                  <a:cubicBezTo>
                    <a:pt x="9383" y="288366"/>
                    <a:pt x="12631" y="293052"/>
                    <a:pt x="17683" y="295214"/>
                  </a:cubicBezTo>
                  <a:cubicBezTo>
                    <a:pt x="23457" y="282959"/>
                    <a:pt x="23457" y="263855"/>
                    <a:pt x="17683" y="251599"/>
                  </a:cubicBezTo>
                  <a:close/>
                  <a:moveTo>
                    <a:pt x="27066" y="250157"/>
                  </a:moveTo>
                  <a:cubicBezTo>
                    <a:pt x="28871" y="254843"/>
                    <a:pt x="29953" y="259169"/>
                    <a:pt x="30675" y="264215"/>
                  </a:cubicBezTo>
                  <a:lnTo>
                    <a:pt x="86611" y="264215"/>
                  </a:lnTo>
                  <a:cubicBezTo>
                    <a:pt x="89138" y="264215"/>
                    <a:pt x="90942" y="266378"/>
                    <a:pt x="90942" y="269261"/>
                  </a:cubicBezTo>
                  <a:cubicBezTo>
                    <a:pt x="90942" y="271424"/>
                    <a:pt x="89138" y="273587"/>
                    <a:pt x="86611" y="273587"/>
                  </a:cubicBezTo>
                  <a:lnTo>
                    <a:pt x="31397" y="273587"/>
                  </a:lnTo>
                  <a:cubicBezTo>
                    <a:pt x="31397" y="281877"/>
                    <a:pt x="29953" y="289447"/>
                    <a:pt x="27066" y="296656"/>
                  </a:cubicBezTo>
                  <a:lnTo>
                    <a:pt x="282569" y="296656"/>
                  </a:lnTo>
                  <a:cubicBezTo>
                    <a:pt x="280043" y="291970"/>
                    <a:pt x="278239" y="287645"/>
                    <a:pt x="276795" y="282598"/>
                  </a:cubicBezTo>
                  <a:lnTo>
                    <a:pt x="119451" y="282598"/>
                  </a:lnTo>
                  <a:cubicBezTo>
                    <a:pt x="116925" y="282598"/>
                    <a:pt x="114760" y="280436"/>
                    <a:pt x="114760" y="277912"/>
                  </a:cubicBezTo>
                  <a:cubicBezTo>
                    <a:pt x="114760" y="275389"/>
                    <a:pt x="116925" y="273227"/>
                    <a:pt x="119451" y="273227"/>
                  </a:cubicBezTo>
                  <a:lnTo>
                    <a:pt x="276073" y="273227"/>
                  </a:lnTo>
                  <a:cubicBezTo>
                    <a:pt x="276073" y="265296"/>
                    <a:pt x="278239" y="257006"/>
                    <a:pt x="282569" y="250157"/>
                  </a:cubicBezTo>
                  <a:lnTo>
                    <a:pt x="185132" y="250157"/>
                  </a:lnTo>
                  <a:lnTo>
                    <a:pt x="144352" y="250157"/>
                  </a:lnTo>
                  <a:lnTo>
                    <a:pt x="99242" y="250157"/>
                  </a:lnTo>
                  <a:lnTo>
                    <a:pt x="43667" y="250157"/>
                  </a:lnTo>
                  <a:lnTo>
                    <a:pt x="27066" y="250157"/>
                  </a:lnTo>
                  <a:close/>
                  <a:moveTo>
                    <a:pt x="48358" y="217716"/>
                  </a:moveTo>
                  <a:lnTo>
                    <a:pt x="48358" y="240785"/>
                  </a:lnTo>
                  <a:lnTo>
                    <a:pt x="94551" y="240785"/>
                  </a:lnTo>
                  <a:lnTo>
                    <a:pt x="94551" y="217716"/>
                  </a:lnTo>
                  <a:lnTo>
                    <a:pt x="48358" y="217716"/>
                  </a:lnTo>
                  <a:close/>
                  <a:moveTo>
                    <a:pt x="188749" y="69367"/>
                  </a:moveTo>
                  <a:lnTo>
                    <a:pt x="188749" y="180015"/>
                  </a:lnTo>
                  <a:cubicBezTo>
                    <a:pt x="217193" y="177846"/>
                    <a:pt x="239516" y="153619"/>
                    <a:pt x="239516" y="124691"/>
                  </a:cubicBezTo>
                  <a:cubicBezTo>
                    <a:pt x="239516" y="95763"/>
                    <a:pt x="217193" y="71898"/>
                    <a:pt x="188749" y="69367"/>
                  </a:cubicBezTo>
                  <a:close/>
                  <a:moveTo>
                    <a:pt x="184068" y="59965"/>
                  </a:moveTo>
                  <a:cubicBezTo>
                    <a:pt x="220073" y="59965"/>
                    <a:pt x="248877" y="88893"/>
                    <a:pt x="248877" y="124691"/>
                  </a:cubicBezTo>
                  <a:cubicBezTo>
                    <a:pt x="248877" y="160489"/>
                    <a:pt x="220073" y="189778"/>
                    <a:pt x="184068" y="189778"/>
                  </a:cubicBezTo>
                  <a:cubicBezTo>
                    <a:pt x="181548" y="189778"/>
                    <a:pt x="179387" y="187609"/>
                    <a:pt x="179387" y="185078"/>
                  </a:cubicBezTo>
                  <a:lnTo>
                    <a:pt x="179387" y="64666"/>
                  </a:lnTo>
                  <a:cubicBezTo>
                    <a:pt x="179387" y="62135"/>
                    <a:pt x="181548" y="59965"/>
                    <a:pt x="184068" y="59965"/>
                  </a:cubicBezTo>
                  <a:close/>
                  <a:moveTo>
                    <a:pt x="94551" y="49743"/>
                  </a:moveTo>
                  <a:lnTo>
                    <a:pt x="85168" y="55150"/>
                  </a:lnTo>
                  <a:cubicBezTo>
                    <a:pt x="84446" y="55511"/>
                    <a:pt x="83724" y="55511"/>
                    <a:pt x="83003" y="55511"/>
                  </a:cubicBezTo>
                  <a:lnTo>
                    <a:pt x="76146" y="55511"/>
                  </a:lnTo>
                  <a:lnTo>
                    <a:pt x="76146" y="208344"/>
                  </a:lnTo>
                  <a:lnTo>
                    <a:pt x="94551" y="208344"/>
                  </a:lnTo>
                  <a:lnTo>
                    <a:pt x="94551" y="49743"/>
                  </a:lnTo>
                  <a:close/>
                  <a:moveTo>
                    <a:pt x="48358" y="49743"/>
                  </a:moveTo>
                  <a:lnTo>
                    <a:pt x="48358" y="208344"/>
                  </a:lnTo>
                  <a:lnTo>
                    <a:pt x="66763" y="208344"/>
                  </a:lnTo>
                  <a:lnTo>
                    <a:pt x="66763" y="55511"/>
                  </a:lnTo>
                  <a:lnTo>
                    <a:pt x="59906" y="55511"/>
                  </a:lnTo>
                  <a:cubicBezTo>
                    <a:pt x="58824" y="55511"/>
                    <a:pt x="58102" y="55511"/>
                    <a:pt x="57380" y="55150"/>
                  </a:cubicBezTo>
                  <a:lnTo>
                    <a:pt x="48358" y="49743"/>
                  </a:lnTo>
                  <a:close/>
                  <a:moveTo>
                    <a:pt x="71454" y="12256"/>
                  </a:moveTo>
                  <a:lnTo>
                    <a:pt x="50523" y="40372"/>
                  </a:lnTo>
                  <a:lnTo>
                    <a:pt x="60989" y="46499"/>
                  </a:lnTo>
                  <a:lnTo>
                    <a:pt x="81920" y="46499"/>
                  </a:lnTo>
                  <a:lnTo>
                    <a:pt x="92385" y="40372"/>
                  </a:lnTo>
                  <a:lnTo>
                    <a:pt x="71454" y="12256"/>
                  </a:lnTo>
                  <a:close/>
                  <a:moveTo>
                    <a:pt x="149044" y="9372"/>
                  </a:moveTo>
                  <a:lnTo>
                    <a:pt x="149044" y="34604"/>
                  </a:lnTo>
                  <a:lnTo>
                    <a:pt x="162396" y="34604"/>
                  </a:lnTo>
                  <a:cubicBezTo>
                    <a:pt x="164922" y="34604"/>
                    <a:pt x="167088" y="36407"/>
                    <a:pt x="167088" y="39290"/>
                  </a:cubicBezTo>
                  <a:cubicBezTo>
                    <a:pt x="167088" y="41813"/>
                    <a:pt x="164922" y="43616"/>
                    <a:pt x="162396" y="43616"/>
                  </a:cubicBezTo>
                  <a:lnTo>
                    <a:pt x="149044" y="43616"/>
                  </a:lnTo>
                  <a:lnTo>
                    <a:pt x="149044" y="68848"/>
                  </a:lnTo>
                  <a:lnTo>
                    <a:pt x="162396" y="68848"/>
                  </a:lnTo>
                  <a:cubicBezTo>
                    <a:pt x="164922" y="68848"/>
                    <a:pt x="167088" y="71010"/>
                    <a:pt x="167088" y="73534"/>
                  </a:cubicBezTo>
                  <a:cubicBezTo>
                    <a:pt x="167088" y="76057"/>
                    <a:pt x="164922" y="78220"/>
                    <a:pt x="162396" y="78220"/>
                  </a:cubicBezTo>
                  <a:lnTo>
                    <a:pt x="149044" y="78220"/>
                  </a:lnTo>
                  <a:lnTo>
                    <a:pt x="149044" y="103091"/>
                  </a:lnTo>
                  <a:lnTo>
                    <a:pt x="162396" y="103091"/>
                  </a:lnTo>
                  <a:cubicBezTo>
                    <a:pt x="164922" y="103091"/>
                    <a:pt x="167088" y="105254"/>
                    <a:pt x="167088" y="107777"/>
                  </a:cubicBezTo>
                  <a:cubicBezTo>
                    <a:pt x="167088" y="110300"/>
                    <a:pt x="164922" y="112463"/>
                    <a:pt x="162396" y="112463"/>
                  </a:cubicBezTo>
                  <a:lnTo>
                    <a:pt x="149044" y="112463"/>
                  </a:lnTo>
                  <a:lnTo>
                    <a:pt x="149044" y="137695"/>
                  </a:lnTo>
                  <a:lnTo>
                    <a:pt x="162396" y="137695"/>
                  </a:lnTo>
                  <a:cubicBezTo>
                    <a:pt x="164922" y="137695"/>
                    <a:pt x="167088" y="139858"/>
                    <a:pt x="167088" y="142381"/>
                  </a:cubicBezTo>
                  <a:cubicBezTo>
                    <a:pt x="167088" y="144904"/>
                    <a:pt x="164922" y="146706"/>
                    <a:pt x="162396" y="146706"/>
                  </a:cubicBezTo>
                  <a:lnTo>
                    <a:pt x="149044" y="146706"/>
                  </a:lnTo>
                  <a:lnTo>
                    <a:pt x="149044" y="171938"/>
                  </a:lnTo>
                  <a:lnTo>
                    <a:pt x="162396" y="171938"/>
                  </a:lnTo>
                  <a:cubicBezTo>
                    <a:pt x="164922" y="171938"/>
                    <a:pt x="167088" y="174101"/>
                    <a:pt x="167088" y="176624"/>
                  </a:cubicBezTo>
                  <a:cubicBezTo>
                    <a:pt x="167088" y="179147"/>
                    <a:pt x="164922" y="181310"/>
                    <a:pt x="162396" y="181310"/>
                  </a:cubicBezTo>
                  <a:lnTo>
                    <a:pt x="149044" y="181310"/>
                  </a:lnTo>
                  <a:lnTo>
                    <a:pt x="149044" y="206542"/>
                  </a:lnTo>
                  <a:lnTo>
                    <a:pt x="162396" y="206542"/>
                  </a:lnTo>
                  <a:cubicBezTo>
                    <a:pt x="164922" y="206542"/>
                    <a:pt x="167088" y="208344"/>
                    <a:pt x="167088" y="211228"/>
                  </a:cubicBezTo>
                  <a:cubicBezTo>
                    <a:pt x="167088" y="213751"/>
                    <a:pt x="164922" y="215553"/>
                    <a:pt x="162396" y="215553"/>
                  </a:cubicBezTo>
                  <a:lnTo>
                    <a:pt x="149044" y="215553"/>
                  </a:lnTo>
                  <a:lnTo>
                    <a:pt x="149044" y="240785"/>
                  </a:lnTo>
                  <a:lnTo>
                    <a:pt x="180440" y="240785"/>
                  </a:lnTo>
                  <a:lnTo>
                    <a:pt x="180440" y="219158"/>
                  </a:lnTo>
                  <a:cubicBezTo>
                    <a:pt x="180440" y="216635"/>
                    <a:pt x="182605" y="214833"/>
                    <a:pt x="185132" y="214833"/>
                  </a:cubicBezTo>
                  <a:cubicBezTo>
                    <a:pt x="234933" y="214833"/>
                    <a:pt x="274991" y="174461"/>
                    <a:pt x="274991" y="125079"/>
                  </a:cubicBezTo>
                  <a:cubicBezTo>
                    <a:pt x="274991" y="75696"/>
                    <a:pt x="234933" y="35686"/>
                    <a:pt x="185132" y="35686"/>
                  </a:cubicBezTo>
                  <a:cubicBezTo>
                    <a:pt x="182605" y="35686"/>
                    <a:pt x="180440" y="33523"/>
                    <a:pt x="180440" y="31000"/>
                  </a:cubicBezTo>
                  <a:lnTo>
                    <a:pt x="180440" y="9372"/>
                  </a:lnTo>
                  <a:lnTo>
                    <a:pt x="149044" y="9372"/>
                  </a:lnTo>
                  <a:close/>
                  <a:moveTo>
                    <a:pt x="144352" y="0"/>
                  </a:moveTo>
                  <a:lnTo>
                    <a:pt x="185132" y="0"/>
                  </a:lnTo>
                  <a:cubicBezTo>
                    <a:pt x="187658" y="0"/>
                    <a:pt x="189823" y="2163"/>
                    <a:pt x="189823" y="4686"/>
                  </a:cubicBezTo>
                  <a:lnTo>
                    <a:pt x="189823" y="26314"/>
                  </a:lnTo>
                  <a:cubicBezTo>
                    <a:pt x="242151" y="28837"/>
                    <a:pt x="284013" y="72092"/>
                    <a:pt x="284013" y="125079"/>
                  </a:cubicBezTo>
                  <a:cubicBezTo>
                    <a:pt x="284013" y="178066"/>
                    <a:pt x="242151" y="221321"/>
                    <a:pt x="189823" y="223844"/>
                  </a:cubicBezTo>
                  <a:lnTo>
                    <a:pt x="189823" y="240785"/>
                  </a:lnTo>
                  <a:lnTo>
                    <a:pt x="301335" y="240785"/>
                  </a:lnTo>
                  <a:cubicBezTo>
                    <a:pt x="303861" y="240785"/>
                    <a:pt x="306026" y="242948"/>
                    <a:pt x="306026" y="245471"/>
                  </a:cubicBezTo>
                  <a:cubicBezTo>
                    <a:pt x="306026" y="247995"/>
                    <a:pt x="303861" y="250157"/>
                    <a:pt x="301335" y="250157"/>
                  </a:cubicBezTo>
                  <a:lnTo>
                    <a:pt x="294117" y="250157"/>
                  </a:lnTo>
                  <a:cubicBezTo>
                    <a:pt x="282208" y="263134"/>
                    <a:pt x="282208" y="283319"/>
                    <a:pt x="294117" y="296656"/>
                  </a:cubicBezTo>
                  <a:lnTo>
                    <a:pt x="301335" y="296656"/>
                  </a:lnTo>
                  <a:cubicBezTo>
                    <a:pt x="303861" y="296656"/>
                    <a:pt x="306026" y="298458"/>
                    <a:pt x="306026" y="301342"/>
                  </a:cubicBezTo>
                  <a:cubicBezTo>
                    <a:pt x="306026" y="303865"/>
                    <a:pt x="303861" y="305668"/>
                    <a:pt x="301335" y="305668"/>
                  </a:cubicBezTo>
                  <a:lnTo>
                    <a:pt x="23457" y="305668"/>
                  </a:lnTo>
                  <a:cubicBezTo>
                    <a:pt x="10466" y="305668"/>
                    <a:pt x="0" y="295214"/>
                    <a:pt x="0" y="282598"/>
                  </a:cubicBezTo>
                  <a:lnTo>
                    <a:pt x="0" y="263855"/>
                  </a:lnTo>
                  <a:cubicBezTo>
                    <a:pt x="0" y="251239"/>
                    <a:pt x="10466" y="240785"/>
                    <a:pt x="23457" y="240785"/>
                  </a:cubicBezTo>
                  <a:lnTo>
                    <a:pt x="38975" y="240785"/>
                  </a:lnTo>
                  <a:lnTo>
                    <a:pt x="38975" y="41813"/>
                  </a:lnTo>
                  <a:cubicBezTo>
                    <a:pt x="38975" y="41453"/>
                    <a:pt x="38975" y="41093"/>
                    <a:pt x="38975" y="40732"/>
                  </a:cubicBezTo>
                  <a:cubicBezTo>
                    <a:pt x="38975" y="40732"/>
                    <a:pt x="38975" y="40732"/>
                    <a:pt x="39336" y="40732"/>
                  </a:cubicBezTo>
                  <a:cubicBezTo>
                    <a:pt x="39336" y="40011"/>
                    <a:pt x="39336" y="39651"/>
                    <a:pt x="39697" y="39290"/>
                  </a:cubicBezTo>
                  <a:lnTo>
                    <a:pt x="67485" y="2163"/>
                  </a:lnTo>
                  <a:cubicBezTo>
                    <a:pt x="69650" y="-360"/>
                    <a:pt x="73259" y="-360"/>
                    <a:pt x="75063" y="2163"/>
                  </a:cubicBezTo>
                  <a:lnTo>
                    <a:pt x="102851" y="39290"/>
                  </a:lnTo>
                  <a:cubicBezTo>
                    <a:pt x="103212" y="39651"/>
                    <a:pt x="103573" y="40011"/>
                    <a:pt x="103573" y="40732"/>
                  </a:cubicBezTo>
                  <a:cubicBezTo>
                    <a:pt x="103934" y="41093"/>
                    <a:pt x="103934" y="41453"/>
                    <a:pt x="103934" y="41813"/>
                  </a:cubicBezTo>
                  <a:lnTo>
                    <a:pt x="103934" y="240785"/>
                  </a:lnTo>
                  <a:lnTo>
                    <a:pt x="139661" y="240785"/>
                  </a:lnTo>
                  <a:lnTo>
                    <a:pt x="139661" y="4686"/>
                  </a:lnTo>
                  <a:cubicBezTo>
                    <a:pt x="139661" y="2163"/>
                    <a:pt x="141826" y="0"/>
                    <a:pt x="144352" y="0"/>
                  </a:cubicBezTo>
                  <a:close/>
                </a:path>
              </a:pathLst>
            </a:custGeom>
            <a:solidFill>
              <a:schemeClr val="bg1"/>
            </a:solidFill>
            <a:ln>
              <a:noFill/>
            </a:ln>
            <a:effectLst/>
          </p:spPr>
          <p:txBody>
            <a:bodyPr anchor="ct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66" name="Freeform 760">
              <a:extLst>
                <a:ext uri="{FF2B5EF4-FFF2-40B4-BE49-F238E27FC236}">
                  <a16:creationId xmlns:a16="http://schemas.microsoft.com/office/drawing/2014/main" id="{98C824D0-26AA-6145-A45A-5072DF7045AD}"/>
                </a:ext>
              </a:extLst>
            </p:cNvPr>
            <p:cNvSpPr>
              <a:spLocks noChangeArrowheads="1"/>
            </p:cNvSpPr>
            <p:nvPr/>
          </p:nvSpPr>
          <p:spPr bwMode="auto">
            <a:xfrm>
              <a:off x="6174587" y="2188238"/>
              <a:ext cx="336702" cy="294831"/>
            </a:xfrm>
            <a:custGeom>
              <a:avLst/>
              <a:gdLst>
                <a:gd name="T0" fmla="*/ 29805 w 306027"/>
                <a:gd name="T1" fmla="*/ 186710 h 267856"/>
                <a:gd name="T2" fmla="*/ 19050 w 306027"/>
                <a:gd name="T3" fmla="*/ 186710 h 267856"/>
                <a:gd name="T4" fmla="*/ 276074 w 306027"/>
                <a:gd name="T5" fmla="*/ 180535 h 267856"/>
                <a:gd name="T6" fmla="*/ 215807 w 306027"/>
                <a:gd name="T7" fmla="*/ 201649 h 267856"/>
                <a:gd name="T8" fmla="*/ 215085 w 306027"/>
                <a:gd name="T9" fmla="*/ 213101 h 267856"/>
                <a:gd name="T10" fmla="*/ 273187 w 306027"/>
                <a:gd name="T11" fmla="*/ 193060 h 267856"/>
                <a:gd name="T12" fmla="*/ 276074 w 306027"/>
                <a:gd name="T13" fmla="*/ 180535 h 267856"/>
                <a:gd name="T14" fmla="*/ 48358 w 306027"/>
                <a:gd name="T15" fmla="*/ 246026 h 267856"/>
                <a:gd name="T16" fmla="*/ 296644 w 306027"/>
                <a:gd name="T17" fmla="*/ 200934 h 267856"/>
                <a:gd name="T18" fmla="*/ 273909 w 306027"/>
                <a:gd name="T19" fmla="*/ 202723 h 267856"/>
                <a:gd name="T20" fmla="*/ 168532 w 306027"/>
                <a:gd name="T21" fmla="*/ 230279 h 267856"/>
                <a:gd name="T22" fmla="*/ 123422 w 306027"/>
                <a:gd name="T23" fmla="*/ 222048 h 267856"/>
                <a:gd name="T24" fmla="*/ 198124 w 306027"/>
                <a:gd name="T25" fmla="*/ 217038 h 267856"/>
                <a:gd name="T26" fmla="*/ 206785 w 306027"/>
                <a:gd name="T27" fmla="*/ 208449 h 267856"/>
                <a:gd name="T28" fmla="*/ 194876 w 306027"/>
                <a:gd name="T29" fmla="*/ 192702 h 267856"/>
                <a:gd name="T30" fmla="*/ 48358 w 306027"/>
                <a:gd name="T31" fmla="*/ 171230 h 267856"/>
                <a:gd name="T32" fmla="*/ 9383 w 306027"/>
                <a:gd name="T33" fmla="*/ 244952 h 267856"/>
                <a:gd name="T34" fmla="*/ 38975 w 306027"/>
                <a:gd name="T35" fmla="*/ 171230 h 267856"/>
                <a:gd name="T36" fmla="*/ 4692 w 306027"/>
                <a:gd name="T37" fmla="*/ 161925 h 267856"/>
                <a:gd name="T38" fmla="*/ 136413 w 306027"/>
                <a:gd name="T39" fmla="*/ 175166 h 267856"/>
                <a:gd name="T40" fmla="*/ 210033 w 306027"/>
                <a:gd name="T41" fmla="*/ 189481 h 267856"/>
                <a:gd name="T42" fmla="*/ 249730 w 306027"/>
                <a:gd name="T43" fmla="*/ 179461 h 267856"/>
                <a:gd name="T44" fmla="*/ 287622 w 306027"/>
                <a:gd name="T45" fmla="*/ 184829 h 267856"/>
                <a:gd name="T46" fmla="*/ 300253 w 306027"/>
                <a:gd name="T47" fmla="*/ 189481 h 267856"/>
                <a:gd name="T48" fmla="*/ 294840 w 306027"/>
                <a:gd name="T49" fmla="*/ 218112 h 267856"/>
                <a:gd name="T50" fmla="*/ 42945 w 306027"/>
                <a:gd name="T51" fmla="*/ 253899 h 267856"/>
                <a:gd name="T52" fmla="*/ 0 w 306027"/>
                <a:gd name="T53" fmla="*/ 249247 h 267856"/>
                <a:gd name="T54" fmla="*/ 4692 w 306027"/>
                <a:gd name="T55" fmla="*/ 161925 h 267856"/>
                <a:gd name="T56" fmla="*/ 178636 w 306027"/>
                <a:gd name="T57" fmla="*/ 143471 h 267856"/>
                <a:gd name="T58" fmla="*/ 202455 w 306027"/>
                <a:gd name="T59" fmla="*/ 143471 h 267856"/>
                <a:gd name="T60" fmla="*/ 232769 w 306027"/>
                <a:gd name="T61" fmla="*/ 97330 h 267856"/>
                <a:gd name="T62" fmla="*/ 195237 w 306027"/>
                <a:gd name="T63" fmla="*/ 122563 h 267856"/>
                <a:gd name="T64" fmla="*/ 232769 w 306027"/>
                <a:gd name="T65" fmla="*/ 109586 h 267856"/>
                <a:gd name="T66" fmla="*/ 73259 w 306027"/>
                <a:gd name="T67" fmla="*/ 97330 h 267856"/>
                <a:gd name="T68" fmla="*/ 153014 w 306027"/>
                <a:gd name="T69" fmla="*/ 134099 h 267856"/>
                <a:gd name="T70" fmla="*/ 185854 w 306027"/>
                <a:gd name="T71" fmla="*/ 122563 h 267856"/>
                <a:gd name="T72" fmla="*/ 153014 w 306027"/>
                <a:gd name="T73" fmla="*/ 115354 h 267856"/>
                <a:gd name="T74" fmla="*/ 232769 w 306027"/>
                <a:gd name="T75" fmla="*/ 63805 h 267856"/>
                <a:gd name="T76" fmla="*/ 195237 w 306027"/>
                <a:gd name="T77" fmla="*/ 102376 h 267856"/>
                <a:gd name="T78" fmla="*/ 232769 w 306027"/>
                <a:gd name="T79" fmla="*/ 63805 h 267856"/>
                <a:gd name="T80" fmla="*/ 73259 w 306027"/>
                <a:gd name="T81" fmla="*/ 81829 h 267856"/>
                <a:gd name="T82" fmla="*/ 185854 w 306027"/>
                <a:gd name="T83" fmla="*/ 103818 h 267856"/>
                <a:gd name="T84" fmla="*/ 154096 w 306027"/>
                <a:gd name="T85" fmla="*/ 83271 h 267856"/>
                <a:gd name="T86" fmla="*/ 151931 w 306027"/>
                <a:gd name="T87" fmla="*/ 83271 h 267856"/>
                <a:gd name="T88" fmla="*/ 153014 w 306027"/>
                <a:gd name="T89" fmla="*/ 9373 h 267856"/>
                <a:gd name="T90" fmla="*/ 153014 w 306027"/>
                <a:gd name="T91" fmla="*/ 74259 h 267856"/>
                <a:gd name="T92" fmla="*/ 150127 w 306027"/>
                <a:gd name="T93" fmla="*/ 41455 h 267856"/>
                <a:gd name="T94" fmla="*/ 155901 w 306027"/>
                <a:gd name="T95" fmla="*/ 34246 h 267856"/>
                <a:gd name="T96" fmla="*/ 282209 w 306027"/>
                <a:gd name="T97" fmla="*/ 41816 h 267856"/>
                <a:gd name="T98" fmla="*/ 151931 w 306027"/>
                <a:gd name="T99" fmla="*/ 0 h 267856"/>
                <a:gd name="T100" fmla="*/ 302419 w 306027"/>
                <a:gd name="T101" fmla="*/ 37130 h 267856"/>
                <a:gd name="T102" fmla="*/ 302419 w 306027"/>
                <a:gd name="T103" fmla="*/ 46142 h 267856"/>
                <a:gd name="T104" fmla="*/ 242151 w 306027"/>
                <a:gd name="T105" fmla="*/ 109586 h 267856"/>
                <a:gd name="T106" fmla="*/ 211477 w 306027"/>
                <a:gd name="T107" fmla="*/ 143471 h 267856"/>
                <a:gd name="T108" fmla="*/ 169253 w 306027"/>
                <a:gd name="T109" fmla="*/ 143471 h 267856"/>
                <a:gd name="T110" fmla="*/ 153014 w 306027"/>
                <a:gd name="T111" fmla="*/ 143471 h 267856"/>
                <a:gd name="T112" fmla="*/ 64237 w 306027"/>
                <a:gd name="T113" fmla="*/ 61282 h 267856"/>
                <a:gd name="T114" fmla="*/ 0 w 306027"/>
                <a:gd name="T115" fmla="*/ 41816 h 267856"/>
                <a:gd name="T116" fmla="*/ 151931 w 306027"/>
                <a:gd name="T117" fmla="*/ 0 h 267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027" h="267856">
                  <a:moveTo>
                    <a:pt x="24428" y="180975"/>
                  </a:moveTo>
                  <a:cubicBezTo>
                    <a:pt x="27295" y="180975"/>
                    <a:pt x="29805" y="183484"/>
                    <a:pt x="29805" y="186710"/>
                  </a:cubicBezTo>
                  <a:cubicBezTo>
                    <a:pt x="29805" y="189578"/>
                    <a:pt x="27295" y="191729"/>
                    <a:pt x="24428" y="191729"/>
                  </a:cubicBezTo>
                  <a:cubicBezTo>
                    <a:pt x="21201" y="191729"/>
                    <a:pt x="19050" y="189578"/>
                    <a:pt x="19050" y="186710"/>
                  </a:cubicBezTo>
                  <a:cubicBezTo>
                    <a:pt x="19050" y="183484"/>
                    <a:pt x="21201" y="180975"/>
                    <a:pt x="24428" y="180975"/>
                  </a:cubicBezTo>
                  <a:close/>
                  <a:moveTo>
                    <a:pt x="276074" y="180535"/>
                  </a:moveTo>
                  <a:cubicBezTo>
                    <a:pt x="273548" y="179461"/>
                    <a:pt x="262000" y="184113"/>
                    <a:pt x="253700" y="187692"/>
                  </a:cubicBezTo>
                  <a:cubicBezTo>
                    <a:pt x="243234" y="192344"/>
                    <a:pt x="230242" y="197713"/>
                    <a:pt x="215807" y="201649"/>
                  </a:cubicBezTo>
                  <a:cubicBezTo>
                    <a:pt x="216168" y="203797"/>
                    <a:pt x="216529" y="206302"/>
                    <a:pt x="216168" y="208807"/>
                  </a:cubicBezTo>
                  <a:cubicBezTo>
                    <a:pt x="215807" y="210238"/>
                    <a:pt x="215807" y="211670"/>
                    <a:pt x="215085" y="213101"/>
                  </a:cubicBezTo>
                  <a:cubicBezTo>
                    <a:pt x="239986" y="207017"/>
                    <a:pt x="257669" y="199502"/>
                    <a:pt x="270300" y="194492"/>
                  </a:cubicBezTo>
                  <a:cubicBezTo>
                    <a:pt x="271383" y="193776"/>
                    <a:pt x="272465" y="193418"/>
                    <a:pt x="273187" y="193060"/>
                  </a:cubicBezTo>
                  <a:cubicBezTo>
                    <a:pt x="275713" y="190913"/>
                    <a:pt x="278600" y="187334"/>
                    <a:pt x="278600" y="184829"/>
                  </a:cubicBezTo>
                  <a:cubicBezTo>
                    <a:pt x="278600" y="183755"/>
                    <a:pt x="278240" y="182324"/>
                    <a:pt x="276074" y="180535"/>
                  </a:cubicBezTo>
                  <a:close/>
                  <a:moveTo>
                    <a:pt x="48358" y="171230"/>
                  </a:moveTo>
                  <a:lnTo>
                    <a:pt x="48358" y="246026"/>
                  </a:lnTo>
                  <a:cubicBezTo>
                    <a:pt x="69289" y="252468"/>
                    <a:pt x="194154" y="285392"/>
                    <a:pt x="289427" y="210596"/>
                  </a:cubicBezTo>
                  <a:cubicBezTo>
                    <a:pt x="291231" y="209165"/>
                    <a:pt x="296284" y="204870"/>
                    <a:pt x="296644" y="200934"/>
                  </a:cubicBezTo>
                  <a:cubicBezTo>
                    <a:pt x="296644" y="200218"/>
                    <a:pt x="296284" y="198428"/>
                    <a:pt x="294479" y="196639"/>
                  </a:cubicBezTo>
                  <a:cubicBezTo>
                    <a:pt x="292314" y="194850"/>
                    <a:pt x="283292" y="198786"/>
                    <a:pt x="273909" y="202723"/>
                  </a:cubicBezTo>
                  <a:cubicBezTo>
                    <a:pt x="258391" y="209165"/>
                    <a:pt x="235295" y="219185"/>
                    <a:pt x="201011" y="225627"/>
                  </a:cubicBezTo>
                  <a:cubicBezTo>
                    <a:pt x="193072" y="228490"/>
                    <a:pt x="182245" y="230279"/>
                    <a:pt x="168532" y="230279"/>
                  </a:cubicBezTo>
                  <a:cubicBezTo>
                    <a:pt x="156983" y="230279"/>
                    <a:pt x="143270" y="229206"/>
                    <a:pt x="127391" y="227058"/>
                  </a:cubicBezTo>
                  <a:cubicBezTo>
                    <a:pt x="124865" y="226701"/>
                    <a:pt x="122700" y="224553"/>
                    <a:pt x="123422" y="222048"/>
                  </a:cubicBezTo>
                  <a:cubicBezTo>
                    <a:pt x="123422" y="219543"/>
                    <a:pt x="125948" y="217396"/>
                    <a:pt x="128474" y="217754"/>
                  </a:cubicBezTo>
                  <a:cubicBezTo>
                    <a:pt x="170336" y="223122"/>
                    <a:pt x="189463" y="220259"/>
                    <a:pt x="198124" y="217038"/>
                  </a:cubicBezTo>
                  <a:lnTo>
                    <a:pt x="198485" y="216680"/>
                  </a:lnTo>
                  <a:cubicBezTo>
                    <a:pt x="206785" y="213817"/>
                    <a:pt x="206785" y="209523"/>
                    <a:pt x="206785" y="208449"/>
                  </a:cubicBezTo>
                  <a:cubicBezTo>
                    <a:pt x="207146" y="202723"/>
                    <a:pt x="206063" y="198428"/>
                    <a:pt x="203537" y="195923"/>
                  </a:cubicBezTo>
                  <a:cubicBezTo>
                    <a:pt x="199928" y="192344"/>
                    <a:pt x="194876" y="192702"/>
                    <a:pt x="194876" y="192702"/>
                  </a:cubicBezTo>
                  <a:cubicBezTo>
                    <a:pt x="149405" y="193418"/>
                    <a:pt x="140744" y="188766"/>
                    <a:pt x="131361" y="183040"/>
                  </a:cubicBezTo>
                  <a:cubicBezTo>
                    <a:pt x="121978" y="177672"/>
                    <a:pt x="111512" y="171588"/>
                    <a:pt x="48358" y="171230"/>
                  </a:cubicBezTo>
                  <a:close/>
                  <a:moveTo>
                    <a:pt x="9383" y="171230"/>
                  </a:moveTo>
                  <a:lnTo>
                    <a:pt x="9383" y="244952"/>
                  </a:lnTo>
                  <a:lnTo>
                    <a:pt x="38975" y="244952"/>
                  </a:lnTo>
                  <a:lnTo>
                    <a:pt x="38975" y="171230"/>
                  </a:lnTo>
                  <a:lnTo>
                    <a:pt x="9383" y="171230"/>
                  </a:lnTo>
                  <a:close/>
                  <a:moveTo>
                    <a:pt x="4692" y="161925"/>
                  </a:moveTo>
                  <a:lnTo>
                    <a:pt x="43667" y="161925"/>
                  </a:lnTo>
                  <a:cubicBezTo>
                    <a:pt x="113678" y="161925"/>
                    <a:pt x="125587" y="169083"/>
                    <a:pt x="136413" y="175166"/>
                  </a:cubicBezTo>
                  <a:cubicBezTo>
                    <a:pt x="144353" y="180177"/>
                    <a:pt x="151570" y="184113"/>
                    <a:pt x="194154" y="183398"/>
                  </a:cubicBezTo>
                  <a:cubicBezTo>
                    <a:pt x="194515" y="183398"/>
                    <a:pt x="203537" y="183040"/>
                    <a:pt x="210033" y="189481"/>
                  </a:cubicBezTo>
                  <a:cubicBezTo>
                    <a:pt x="211116" y="190555"/>
                    <a:pt x="211837" y="191629"/>
                    <a:pt x="212920" y="193060"/>
                  </a:cubicBezTo>
                  <a:cubicBezTo>
                    <a:pt x="226994" y="188766"/>
                    <a:pt x="239625" y="183755"/>
                    <a:pt x="249730" y="179461"/>
                  </a:cubicBezTo>
                  <a:cubicBezTo>
                    <a:pt x="265609" y="172661"/>
                    <a:pt x="275352" y="168725"/>
                    <a:pt x="281487" y="173377"/>
                  </a:cubicBezTo>
                  <a:cubicBezTo>
                    <a:pt x="286901" y="177314"/>
                    <a:pt x="287622" y="181608"/>
                    <a:pt x="287622" y="184829"/>
                  </a:cubicBezTo>
                  <a:cubicBezTo>
                    <a:pt x="287622" y="185903"/>
                    <a:pt x="287622" y="186976"/>
                    <a:pt x="287262" y="187692"/>
                  </a:cubicBezTo>
                  <a:cubicBezTo>
                    <a:pt x="292675" y="186618"/>
                    <a:pt x="297005" y="186976"/>
                    <a:pt x="300253" y="189481"/>
                  </a:cubicBezTo>
                  <a:cubicBezTo>
                    <a:pt x="305306" y="193776"/>
                    <a:pt x="306027" y="198428"/>
                    <a:pt x="306027" y="201291"/>
                  </a:cubicBezTo>
                  <a:cubicBezTo>
                    <a:pt x="305666" y="210596"/>
                    <a:pt x="295923" y="217396"/>
                    <a:pt x="294840" y="218112"/>
                  </a:cubicBezTo>
                  <a:cubicBezTo>
                    <a:pt x="245038" y="257478"/>
                    <a:pt x="186937" y="267856"/>
                    <a:pt x="139300" y="267856"/>
                  </a:cubicBezTo>
                  <a:cubicBezTo>
                    <a:pt x="88416" y="267856"/>
                    <a:pt x="48719" y="255689"/>
                    <a:pt x="42945" y="253899"/>
                  </a:cubicBezTo>
                  <a:lnTo>
                    <a:pt x="4692" y="253899"/>
                  </a:lnTo>
                  <a:cubicBezTo>
                    <a:pt x="2166" y="253899"/>
                    <a:pt x="0" y="252110"/>
                    <a:pt x="0" y="249247"/>
                  </a:cubicBezTo>
                  <a:lnTo>
                    <a:pt x="0" y="166577"/>
                  </a:lnTo>
                  <a:cubicBezTo>
                    <a:pt x="0" y="164072"/>
                    <a:pt x="2166" y="161925"/>
                    <a:pt x="4692" y="161925"/>
                  </a:cubicBezTo>
                  <a:close/>
                  <a:moveTo>
                    <a:pt x="190545" y="131575"/>
                  </a:moveTo>
                  <a:cubicBezTo>
                    <a:pt x="184050" y="131575"/>
                    <a:pt x="178636" y="136983"/>
                    <a:pt x="178636" y="143471"/>
                  </a:cubicBezTo>
                  <a:cubicBezTo>
                    <a:pt x="178636" y="150320"/>
                    <a:pt x="184050" y="155367"/>
                    <a:pt x="190545" y="155367"/>
                  </a:cubicBezTo>
                  <a:cubicBezTo>
                    <a:pt x="197041" y="155367"/>
                    <a:pt x="202455" y="150320"/>
                    <a:pt x="202455" y="143471"/>
                  </a:cubicBezTo>
                  <a:cubicBezTo>
                    <a:pt x="202455" y="136983"/>
                    <a:pt x="197041" y="131575"/>
                    <a:pt x="190545" y="131575"/>
                  </a:cubicBezTo>
                  <a:close/>
                  <a:moveTo>
                    <a:pt x="232769" y="97330"/>
                  </a:moveTo>
                  <a:cubicBezTo>
                    <a:pt x="224107" y="103818"/>
                    <a:pt x="210755" y="108505"/>
                    <a:pt x="195237" y="111749"/>
                  </a:cubicBezTo>
                  <a:lnTo>
                    <a:pt x="195237" y="122563"/>
                  </a:lnTo>
                  <a:cubicBezTo>
                    <a:pt x="198846" y="123645"/>
                    <a:pt x="202094" y="125447"/>
                    <a:pt x="204620" y="127971"/>
                  </a:cubicBezTo>
                  <a:cubicBezTo>
                    <a:pt x="221942" y="122924"/>
                    <a:pt x="232769" y="116075"/>
                    <a:pt x="232769" y="109586"/>
                  </a:cubicBezTo>
                  <a:lnTo>
                    <a:pt x="232769" y="97330"/>
                  </a:lnTo>
                  <a:close/>
                  <a:moveTo>
                    <a:pt x="73259" y="97330"/>
                  </a:moveTo>
                  <a:lnTo>
                    <a:pt x="73259" y="109586"/>
                  </a:lnTo>
                  <a:cubicBezTo>
                    <a:pt x="73259" y="121121"/>
                    <a:pt x="107543" y="134099"/>
                    <a:pt x="153014" y="134099"/>
                  </a:cubicBezTo>
                  <a:cubicBezTo>
                    <a:pt x="159871" y="134099"/>
                    <a:pt x="166006" y="133738"/>
                    <a:pt x="172140" y="133378"/>
                  </a:cubicBezTo>
                  <a:cubicBezTo>
                    <a:pt x="175028" y="127971"/>
                    <a:pt x="180080" y="124005"/>
                    <a:pt x="185854" y="122563"/>
                  </a:cubicBezTo>
                  <a:lnTo>
                    <a:pt x="185854" y="113191"/>
                  </a:lnTo>
                  <a:cubicBezTo>
                    <a:pt x="175028" y="114993"/>
                    <a:pt x="163840" y="115354"/>
                    <a:pt x="153014" y="115354"/>
                  </a:cubicBezTo>
                  <a:cubicBezTo>
                    <a:pt x="121617" y="115354"/>
                    <a:pt x="89138" y="109586"/>
                    <a:pt x="73259" y="97330"/>
                  </a:cubicBezTo>
                  <a:close/>
                  <a:moveTo>
                    <a:pt x="232769" y="63805"/>
                  </a:moveTo>
                  <a:lnTo>
                    <a:pt x="195237" y="73178"/>
                  </a:lnTo>
                  <a:lnTo>
                    <a:pt x="195237" y="102376"/>
                  </a:lnTo>
                  <a:cubicBezTo>
                    <a:pt x="217972" y="97690"/>
                    <a:pt x="232769" y="89399"/>
                    <a:pt x="232769" y="81829"/>
                  </a:cubicBezTo>
                  <a:lnTo>
                    <a:pt x="232769" y="63805"/>
                  </a:lnTo>
                  <a:close/>
                  <a:moveTo>
                    <a:pt x="73259" y="63805"/>
                  </a:moveTo>
                  <a:lnTo>
                    <a:pt x="73259" y="81829"/>
                  </a:lnTo>
                  <a:cubicBezTo>
                    <a:pt x="73259" y="93364"/>
                    <a:pt x="107543" y="106342"/>
                    <a:pt x="153014" y="106342"/>
                  </a:cubicBezTo>
                  <a:cubicBezTo>
                    <a:pt x="164923" y="106342"/>
                    <a:pt x="176110" y="105260"/>
                    <a:pt x="185854" y="103818"/>
                  </a:cubicBezTo>
                  <a:lnTo>
                    <a:pt x="185854" y="75340"/>
                  </a:lnTo>
                  <a:lnTo>
                    <a:pt x="154096" y="83271"/>
                  </a:lnTo>
                  <a:cubicBezTo>
                    <a:pt x="153736" y="83271"/>
                    <a:pt x="153375" y="83271"/>
                    <a:pt x="153014" y="83271"/>
                  </a:cubicBezTo>
                  <a:cubicBezTo>
                    <a:pt x="152653" y="83271"/>
                    <a:pt x="152292" y="83271"/>
                    <a:pt x="151931" y="83271"/>
                  </a:cubicBezTo>
                  <a:lnTo>
                    <a:pt x="73259" y="63805"/>
                  </a:lnTo>
                  <a:close/>
                  <a:moveTo>
                    <a:pt x="153014" y="9373"/>
                  </a:moveTo>
                  <a:lnTo>
                    <a:pt x="23818" y="41816"/>
                  </a:lnTo>
                  <a:lnTo>
                    <a:pt x="153014" y="74259"/>
                  </a:lnTo>
                  <a:lnTo>
                    <a:pt x="180441" y="67049"/>
                  </a:lnTo>
                  <a:lnTo>
                    <a:pt x="150127" y="41455"/>
                  </a:lnTo>
                  <a:cubicBezTo>
                    <a:pt x="147961" y="39653"/>
                    <a:pt x="147961" y="36769"/>
                    <a:pt x="149405" y="34606"/>
                  </a:cubicBezTo>
                  <a:cubicBezTo>
                    <a:pt x="151209" y="32804"/>
                    <a:pt x="154096" y="32443"/>
                    <a:pt x="155901" y="34246"/>
                  </a:cubicBezTo>
                  <a:lnTo>
                    <a:pt x="191628" y="64166"/>
                  </a:lnTo>
                  <a:lnTo>
                    <a:pt x="282209" y="41816"/>
                  </a:lnTo>
                  <a:lnTo>
                    <a:pt x="153014" y="9373"/>
                  </a:lnTo>
                  <a:close/>
                  <a:moveTo>
                    <a:pt x="151931" y="0"/>
                  </a:moveTo>
                  <a:cubicBezTo>
                    <a:pt x="152653" y="0"/>
                    <a:pt x="153375" y="0"/>
                    <a:pt x="154096" y="0"/>
                  </a:cubicBezTo>
                  <a:lnTo>
                    <a:pt x="302419" y="37130"/>
                  </a:lnTo>
                  <a:cubicBezTo>
                    <a:pt x="304584" y="37851"/>
                    <a:pt x="306027" y="39653"/>
                    <a:pt x="306027" y="41816"/>
                  </a:cubicBezTo>
                  <a:cubicBezTo>
                    <a:pt x="306027" y="43979"/>
                    <a:pt x="304584" y="45781"/>
                    <a:pt x="302419" y="46142"/>
                  </a:cubicBezTo>
                  <a:lnTo>
                    <a:pt x="242151" y="61282"/>
                  </a:lnTo>
                  <a:lnTo>
                    <a:pt x="242151" y="109586"/>
                  </a:lnTo>
                  <a:cubicBezTo>
                    <a:pt x="242151" y="121482"/>
                    <a:pt x="228799" y="130133"/>
                    <a:pt x="210394" y="135901"/>
                  </a:cubicBezTo>
                  <a:cubicBezTo>
                    <a:pt x="211116" y="138064"/>
                    <a:pt x="211477" y="140587"/>
                    <a:pt x="211477" y="143471"/>
                  </a:cubicBezTo>
                  <a:cubicBezTo>
                    <a:pt x="211477" y="155007"/>
                    <a:pt x="202094" y="164740"/>
                    <a:pt x="190545" y="164740"/>
                  </a:cubicBezTo>
                  <a:cubicBezTo>
                    <a:pt x="178636" y="164740"/>
                    <a:pt x="169253" y="155007"/>
                    <a:pt x="169253" y="143471"/>
                  </a:cubicBezTo>
                  <a:lnTo>
                    <a:pt x="169253" y="143111"/>
                  </a:lnTo>
                  <a:cubicBezTo>
                    <a:pt x="163840" y="143111"/>
                    <a:pt x="158427" y="143471"/>
                    <a:pt x="153014" y="143471"/>
                  </a:cubicBezTo>
                  <a:cubicBezTo>
                    <a:pt x="110069" y="143471"/>
                    <a:pt x="64237" y="131575"/>
                    <a:pt x="64237" y="109586"/>
                  </a:cubicBezTo>
                  <a:lnTo>
                    <a:pt x="64237" y="61282"/>
                  </a:lnTo>
                  <a:lnTo>
                    <a:pt x="3609" y="46142"/>
                  </a:lnTo>
                  <a:cubicBezTo>
                    <a:pt x="1444" y="45781"/>
                    <a:pt x="0" y="43979"/>
                    <a:pt x="0" y="41816"/>
                  </a:cubicBezTo>
                  <a:cubicBezTo>
                    <a:pt x="0" y="39653"/>
                    <a:pt x="1444" y="37851"/>
                    <a:pt x="3609" y="37130"/>
                  </a:cubicBezTo>
                  <a:lnTo>
                    <a:pt x="151931" y="0"/>
                  </a:lnTo>
                  <a:close/>
                </a:path>
              </a:pathLst>
            </a:custGeom>
            <a:solidFill>
              <a:schemeClr val="bg1"/>
            </a:solidFill>
            <a:ln>
              <a:noFill/>
            </a:ln>
            <a:effectLst/>
          </p:spPr>
          <p:txBody>
            <a:bodyPr anchor="ct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67" name="Freeform 774">
              <a:extLst>
                <a:ext uri="{FF2B5EF4-FFF2-40B4-BE49-F238E27FC236}">
                  <a16:creationId xmlns:a16="http://schemas.microsoft.com/office/drawing/2014/main" id="{E0C2B26E-32F5-0842-866D-973A022C2C79}"/>
                </a:ext>
              </a:extLst>
            </p:cNvPr>
            <p:cNvSpPr>
              <a:spLocks noChangeArrowheads="1"/>
            </p:cNvSpPr>
            <p:nvPr/>
          </p:nvSpPr>
          <p:spPr bwMode="auto">
            <a:xfrm>
              <a:off x="7930577" y="3869083"/>
              <a:ext cx="336702" cy="333212"/>
            </a:xfrm>
            <a:custGeom>
              <a:avLst/>
              <a:gdLst>
                <a:gd name="T0" fmla="*/ 30314 w 306026"/>
                <a:gd name="T1" fmla="*/ 264904 h 302202"/>
                <a:gd name="T2" fmla="*/ 129917 w 306026"/>
                <a:gd name="T3" fmla="*/ 279250 h 302202"/>
                <a:gd name="T4" fmla="*/ 134608 w 306026"/>
                <a:gd name="T5" fmla="*/ 283912 h 302202"/>
                <a:gd name="T6" fmla="*/ 143630 w 306026"/>
                <a:gd name="T7" fmla="*/ 292878 h 302202"/>
                <a:gd name="T8" fmla="*/ 171779 w 306026"/>
                <a:gd name="T9" fmla="*/ 283912 h 302202"/>
                <a:gd name="T10" fmla="*/ 282569 w 306026"/>
                <a:gd name="T11" fmla="*/ 279250 h 302202"/>
                <a:gd name="T12" fmla="*/ 156622 w 306026"/>
                <a:gd name="T13" fmla="*/ 273511 h 302202"/>
                <a:gd name="T14" fmla="*/ 81468 w 306026"/>
                <a:gd name="T15" fmla="*/ 252531 h 302202"/>
                <a:gd name="T16" fmla="*/ 44388 w 306026"/>
                <a:gd name="T17" fmla="*/ 250200 h 302202"/>
                <a:gd name="T18" fmla="*/ 52327 w 306026"/>
                <a:gd name="T19" fmla="*/ 230116 h 302202"/>
                <a:gd name="T20" fmla="*/ 170336 w 306026"/>
                <a:gd name="T21" fmla="*/ 251635 h 302202"/>
                <a:gd name="T22" fmla="*/ 247203 w 306026"/>
                <a:gd name="T23" fmla="*/ 212184 h 302202"/>
                <a:gd name="T24" fmla="*/ 173944 w 306026"/>
                <a:gd name="T25" fmla="*/ 194611 h 302202"/>
                <a:gd name="T26" fmla="*/ 173944 w 306026"/>
                <a:gd name="T27" fmla="*/ 203936 h 302202"/>
                <a:gd name="T28" fmla="*/ 157705 w 306026"/>
                <a:gd name="T29" fmla="*/ 252710 h 302202"/>
                <a:gd name="T30" fmla="*/ 254421 w 306026"/>
                <a:gd name="T31" fmla="*/ 205729 h 302202"/>
                <a:gd name="T32" fmla="*/ 281126 w 306026"/>
                <a:gd name="T33" fmla="*/ 257014 h 302202"/>
                <a:gd name="T34" fmla="*/ 292674 w 306026"/>
                <a:gd name="T35" fmla="*/ 279250 h 302202"/>
                <a:gd name="T36" fmla="*/ 306026 w 306026"/>
                <a:gd name="T37" fmla="*/ 283912 h 302202"/>
                <a:gd name="T38" fmla="*/ 180440 w 306026"/>
                <a:gd name="T39" fmla="*/ 288216 h 302202"/>
                <a:gd name="T40" fmla="*/ 143630 w 306026"/>
                <a:gd name="T41" fmla="*/ 302202 h 302202"/>
                <a:gd name="T42" fmla="*/ 4691 w 306026"/>
                <a:gd name="T43" fmla="*/ 288216 h 302202"/>
                <a:gd name="T44" fmla="*/ 4691 w 306026"/>
                <a:gd name="T45" fmla="*/ 279250 h 302202"/>
                <a:gd name="T46" fmla="*/ 22735 w 306026"/>
                <a:gd name="T47" fmla="*/ 259166 h 302202"/>
                <a:gd name="T48" fmla="*/ 33201 w 306026"/>
                <a:gd name="T49" fmla="*/ 254145 h 302202"/>
                <a:gd name="T50" fmla="*/ 47997 w 306026"/>
                <a:gd name="T51" fmla="*/ 221150 h 302202"/>
                <a:gd name="T52" fmla="*/ 148322 w 306026"/>
                <a:gd name="T53" fmla="*/ 203936 h 302202"/>
                <a:gd name="T54" fmla="*/ 127391 w 306026"/>
                <a:gd name="T55" fmla="*/ 199273 h 302202"/>
                <a:gd name="T56" fmla="*/ 115770 w 306026"/>
                <a:gd name="T57" fmla="*/ 170799 h 302202"/>
                <a:gd name="T58" fmla="*/ 193318 w 306026"/>
                <a:gd name="T59" fmla="*/ 175032 h 302202"/>
                <a:gd name="T60" fmla="*/ 115770 w 306026"/>
                <a:gd name="T61" fmla="*/ 179971 h 302202"/>
                <a:gd name="T62" fmla="*/ 115770 w 306026"/>
                <a:gd name="T63" fmla="*/ 170799 h 302202"/>
                <a:gd name="T64" fmla="*/ 218153 w 306026"/>
                <a:gd name="T65" fmla="*/ 25324 h 302202"/>
                <a:gd name="T66" fmla="*/ 154346 w 306026"/>
                <a:gd name="T67" fmla="*/ 95972 h 302202"/>
                <a:gd name="T68" fmla="*/ 147894 w 306026"/>
                <a:gd name="T69" fmla="*/ 95972 h 302202"/>
                <a:gd name="T70" fmla="*/ 122443 w 306026"/>
                <a:gd name="T71" fmla="*/ 63892 h 302202"/>
                <a:gd name="T72" fmla="*/ 151120 w 306026"/>
                <a:gd name="T73" fmla="*/ 86240 h 302202"/>
                <a:gd name="T74" fmla="*/ 147650 w 306026"/>
                <a:gd name="T75" fmla="*/ 72 h 302202"/>
                <a:gd name="T76" fmla="*/ 193687 w 306026"/>
                <a:gd name="T77" fmla="*/ 19961 h 302202"/>
                <a:gd name="T78" fmla="*/ 148369 w 306026"/>
                <a:gd name="T79" fmla="*/ 9113 h 302202"/>
                <a:gd name="T80" fmla="*/ 105209 w 306026"/>
                <a:gd name="T81" fmla="*/ 106388 h 302202"/>
                <a:gd name="T82" fmla="*/ 183617 w 306026"/>
                <a:gd name="T83" fmla="*/ 148697 h 302202"/>
                <a:gd name="T84" fmla="*/ 198003 w 306026"/>
                <a:gd name="T85" fmla="*/ 106388 h 302202"/>
                <a:gd name="T86" fmla="*/ 210592 w 306026"/>
                <a:gd name="T87" fmla="*/ 61909 h 302202"/>
                <a:gd name="T88" fmla="*/ 219943 w 306026"/>
                <a:gd name="T89" fmla="*/ 60824 h 302202"/>
                <a:gd name="T90" fmla="*/ 205197 w 306026"/>
                <a:gd name="T91" fmla="*/ 112174 h 302202"/>
                <a:gd name="T92" fmla="*/ 192968 w 306026"/>
                <a:gd name="T93" fmla="*/ 153036 h 302202"/>
                <a:gd name="T94" fmla="*/ 114920 w 306026"/>
                <a:gd name="T95" fmla="*/ 157738 h 302202"/>
                <a:gd name="T96" fmla="*/ 110244 w 306026"/>
                <a:gd name="T97" fmla="*/ 149059 h 302202"/>
                <a:gd name="T98" fmla="*/ 82909 w 306026"/>
                <a:gd name="T99" fmla="*/ 68780 h 30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026" h="302202">
                  <a:moveTo>
                    <a:pt x="81468" y="252531"/>
                  </a:moveTo>
                  <a:cubicBezTo>
                    <a:pt x="57470" y="254773"/>
                    <a:pt x="36268" y="262573"/>
                    <a:pt x="30314" y="264904"/>
                  </a:cubicBezTo>
                  <a:lnTo>
                    <a:pt x="23818" y="279250"/>
                  </a:lnTo>
                  <a:lnTo>
                    <a:pt x="129917" y="279250"/>
                  </a:lnTo>
                  <a:cubicBezTo>
                    <a:pt x="131000" y="279250"/>
                    <a:pt x="132082" y="279608"/>
                    <a:pt x="133165" y="280326"/>
                  </a:cubicBezTo>
                  <a:cubicBezTo>
                    <a:pt x="133887" y="281401"/>
                    <a:pt x="134608" y="282477"/>
                    <a:pt x="134608" y="283912"/>
                  </a:cubicBezTo>
                  <a:cubicBezTo>
                    <a:pt x="134608" y="286064"/>
                    <a:pt x="135330" y="288216"/>
                    <a:pt x="137135" y="290367"/>
                  </a:cubicBezTo>
                  <a:cubicBezTo>
                    <a:pt x="138939" y="291802"/>
                    <a:pt x="141465" y="292878"/>
                    <a:pt x="143630" y="292878"/>
                  </a:cubicBezTo>
                  <a:lnTo>
                    <a:pt x="162396" y="292878"/>
                  </a:lnTo>
                  <a:cubicBezTo>
                    <a:pt x="167448" y="292878"/>
                    <a:pt x="171779" y="288933"/>
                    <a:pt x="171779" y="283912"/>
                  </a:cubicBezTo>
                  <a:cubicBezTo>
                    <a:pt x="171779" y="281401"/>
                    <a:pt x="173583" y="279250"/>
                    <a:pt x="176110" y="279250"/>
                  </a:cubicBezTo>
                  <a:lnTo>
                    <a:pt x="282569" y="279250"/>
                  </a:lnTo>
                  <a:lnTo>
                    <a:pt x="275712" y="264904"/>
                  </a:lnTo>
                  <a:cubicBezTo>
                    <a:pt x="264164" y="260242"/>
                    <a:pt x="190906" y="233703"/>
                    <a:pt x="156622" y="273511"/>
                  </a:cubicBezTo>
                  <a:cubicBezTo>
                    <a:pt x="154818" y="275663"/>
                    <a:pt x="151209" y="275663"/>
                    <a:pt x="149405" y="273511"/>
                  </a:cubicBezTo>
                  <a:cubicBezTo>
                    <a:pt x="132263" y="253607"/>
                    <a:pt x="105467" y="250290"/>
                    <a:pt x="81468" y="252531"/>
                  </a:cubicBezTo>
                  <a:close/>
                  <a:moveTo>
                    <a:pt x="52327" y="230116"/>
                  </a:moveTo>
                  <a:lnTo>
                    <a:pt x="44388" y="250200"/>
                  </a:lnTo>
                  <a:cubicBezTo>
                    <a:pt x="65680" y="244103"/>
                    <a:pt x="100685" y="237289"/>
                    <a:pt x="129556" y="248765"/>
                  </a:cubicBezTo>
                  <a:cubicBezTo>
                    <a:pt x="115120" y="236572"/>
                    <a:pt x="90581" y="225095"/>
                    <a:pt x="52327" y="230116"/>
                  </a:cubicBezTo>
                  <a:close/>
                  <a:moveTo>
                    <a:pt x="247203" y="212184"/>
                  </a:moveTo>
                  <a:cubicBezTo>
                    <a:pt x="206063" y="217564"/>
                    <a:pt x="182605" y="236213"/>
                    <a:pt x="170336" y="251635"/>
                  </a:cubicBezTo>
                  <a:cubicBezTo>
                    <a:pt x="199928" y="236213"/>
                    <a:pt x="238903" y="243386"/>
                    <a:pt x="261638" y="250200"/>
                  </a:cubicBezTo>
                  <a:lnTo>
                    <a:pt x="247203" y="212184"/>
                  </a:lnTo>
                  <a:close/>
                  <a:moveTo>
                    <a:pt x="132082" y="194611"/>
                  </a:moveTo>
                  <a:lnTo>
                    <a:pt x="173944" y="194611"/>
                  </a:lnTo>
                  <a:cubicBezTo>
                    <a:pt x="176470" y="194611"/>
                    <a:pt x="178275" y="196763"/>
                    <a:pt x="178275" y="199273"/>
                  </a:cubicBezTo>
                  <a:cubicBezTo>
                    <a:pt x="178275" y="201784"/>
                    <a:pt x="176470" y="203936"/>
                    <a:pt x="173944" y="203936"/>
                  </a:cubicBezTo>
                  <a:lnTo>
                    <a:pt x="157705" y="203936"/>
                  </a:lnTo>
                  <a:lnTo>
                    <a:pt x="157705" y="252710"/>
                  </a:lnTo>
                  <a:cubicBezTo>
                    <a:pt x="169975" y="234779"/>
                    <a:pt x="196680" y="208239"/>
                    <a:pt x="249729" y="202860"/>
                  </a:cubicBezTo>
                  <a:cubicBezTo>
                    <a:pt x="251894" y="202501"/>
                    <a:pt x="253699" y="203577"/>
                    <a:pt x="254421" y="205729"/>
                  </a:cubicBezTo>
                  <a:lnTo>
                    <a:pt x="273186" y="254145"/>
                  </a:lnTo>
                  <a:cubicBezTo>
                    <a:pt x="277517" y="255580"/>
                    <a:pt x="280404" y="257014"/>
                    <a:pt x="281126" y="257014"/>
                  </a:cubicBezTo>
                  <a:cubicBezTo>
                    <a:pt x="282208" y="257373"/>
                    <a:pt x="282930" y="258449"/>
                    <a:pt x="283291" y="259166"/>
                  </a:cubicBezTo>
                  <a:lnTo>
                    <a:pt x="292674" y="279250"/>
                  </a:lnTo>
                  <a:lnTo>
                    <a:pt x="301335" y="279250"/>
                  </a:lnTo>
                  <a:cubicBezTo>
                    <a:pt x="303861" y="279250"/>
                    <a:pt x="306026" y="281401"/>
                    <a:pt x="306026" y="283912"/>
                  </a:cubicBezTo>
                  <a:cubicBezTo>
                    <a:pt x="306026" y="286422"/>
                    <a:pt x="303861" y="288216"/>
                    <a:pt x="301335" y="288216"/>
                  </a:cubicBezTo>
                  <a:lnTo>
                    <a:pt x="180440" y="288216"/>
                  </a:lnTo>
                  <a:cubicBezTo>
                    <a:pt x="178275" y="296106"/>
                    <a:pt x="171057" y="302202"/>
                    <a:pt x="162396" y="302202"/>
                  </a:cubicBezTo>
                  <a:lnTo>
                    <a:pt x="143630" y="302202"/>
                  </a:lnTo>
                  <a:cubicBezTo>
                    <a:pt x="135330" y="302202"/>
                    <a:pt x="127752" y="296106"/>
                    <a:pt x="125947" y="288216"/>
                  </a:cubicBezTo>
                  <a:lnTo>
                    <a:pt x="4691" y="288216"/>
                  </a:lnTo>
                  <a:cubicBezTo>
                    <a:pt x="2165" y="288216"/>
                    <a:pt x="0" y="286422"/>
                    <a:pt x="0" y="283912"/>
                  </a:cubicBezTo>
                  <a:cubicBezTo>
                    <a:pt x="0" y="281401"/>
                    <a:pt x="2165" y="279250"/>
                    <a:pt x="4691" y="279250"/>
                  </a:cubicBezTo>
                  <a:lnTo>
                    <a:pt x="13352" y="279250"/>
                  </a:lnTo>
                  <a:lnTo>
                    <a:pt x="22735" y="259166"/>
                  </a:lnTo>
                  <a:cubicBezTo>
                    <a:pt x="23096" y="258449"/>
                    <a:pt x="23818" y="257373"/>
                    <a:pt x="24900" y="257014"/>
                  </a:cubicBezTo>
                  <a:cubicBezTo>
                    <a:pt x="25622" y="257014"/>
                    <a:pt x="28509" y="255580"/>
                    <a:pt x="33201" y="254145"/>
                  </a:cubicBezTo>
                  <a:lnTo>
                    <a:pt x="44388" y="224378"/>
                  </a:lnTo>
                  <a:cubicBezTo>
                    <a:pt x="45110" y="222585"/>
                    <a:pt x="46192" y="221509"/>
                    <a:pt x="47997" y="221150"/>
                  </a:cubicBezTo>
                  <a:cubicBezTo>
                    <a:pt x="104655" y="212902"/>
                    <a:pt x="134969" y="238365"/>
                    <a:pt x="148322" y="254862"/>
                  </a:cubicBezTo>
                  <a:lnTo>
                    <a:pt x="148322" y="203936"/>
                  </a:lnTo>
                  <a:lnTo>
                    <a:pt x="132082" y="203936"/>
                  </a:lnTo>
                  <a:cubicBezTo>
                    <a:pt x="129556" y="203936"/>
                    <a:pt x="127391" y="201784"/>
                    <a:pt x="127391" y="199273"/>
                  </a:cubicBezTo>
                  <a:cubicBezTo>
                    <a:pt x="127391" y="196763"/>
                    <a:pt x="129556" y="194611"/>
                    <a:pt x="132082" y="194611"/>
                  </a:cubicBezTo>
                  <a:close/>
                  <a:moveTo>
                    <a:pt x="115770" y="170799"/>
                  </a:moveTo>
                  <a:lnTo>
                    <a:pt x="188672" y="170799"/>
                  </a:lnTo>
                  <a:cubicBezTo>
                    <a:pt x="191174" y="170799"/>
                    <a:pt x="193318" y="172916"/>
                    <a:pt x="193318" y="175032"/>
                  </a:cubicBezTo>
                  <a:cubicBezTo>
                    <a:pt x="193318" y="177855"/>
                    <a:pt x="191174" y="179971"/>
                    <a:pt x="188672" y="179971"/>
                  </a:cubicBezTo>
                  <a:lnTo>
                    <a:pt x="115770" y="179971"/>
                  </a:lnTo>
                  <a:cubicBezTo>
                    <a:pt x="113269" y="179971"/>
                    <a:pt x="111125" y="177855"/>
                    <a:pt x="111125" y="175032"/>
                  </a:cubicBezTo>
                  <a:cubicBezTo>
                    <a:pt x="111125" y="172916"/>
                    <a:pt x="113269" y="170799"/>
                    <a:pt x="115770" y="170799"/>
                  </a:cubicBezTo>
                  <a:close/>
                  <a:moveTo>
                    <a:pt x="211701" y="25324"/>
                  </a:moveTo>
                  <a:cubicBezTo>
                    <a:pt x="213493" y="23161"/>
                    <a:pt x="216719" y="23161"/>
                    <a:pt x="218153" y="25324"/>
                  </a:cubicBezTo>
                  <a:cubicBezTo>
                    <a:pt x="220304" y="26766"/>
                    <a:pt x="220304" y="29649"/>
                    <a:pt x="218153" y="31812"/>
                  </a:cubicBezTo>
                  <a:lnTo>
                    <a:pt x="154346" y="95972"/>
                  </a:lnTo>
                  <a:cubicBezTo>
                    <a:pt x="153629" y="96693"/>
                    <a:pt x="152554" y="97414"/>
                    <a:pt x="151120" y="97414"/>
                  </a:cubicBezTo>
                  <a:cubicBezTo>
                    <a:pt x="149686" y="97414"/>
                    <a:pt x="148969" y="96693"/>
                    <a:pt x="147894" y="95972"/>
                  </a:cubicBezTo>
                  <a:lnTo>
                    <a:pt x="122443" y="70380"/>
                  </a:lnTo>
                  <a:cubicBezTo>
                    <a:pt x="120650" y="68578"/>
                    <a:pt x="120650" y="65694"/>
                    <a:pt x="122443" y="63892"/>
                  </a:cubicBezTo>
                  <a:cubicBezTo>
                    <a:pt x="124235" y="62090"/>
                    <a:pt x="127461" y="62090"/>
                    <a:pt x="128895" y="63892"/>
                  </a:cubicBezTo>
                  <a:lnTo>
                    <a:pt x="151120" y="86240"/>
                  </a:lnTo>
                  <a:lnTo>
                    <a:pt x="211701" y="25324"/>
                  </a:lnTo>
                  <a:close/>
                  <a:moveTo>
                    <a:pt x="147650" y="72"/>
                  </a:moveTo>
                  <a:cubicBezTo>
                    <a:pt x="163835" y="-651"/>
                    <a:pt x="180020" y="4050"/>
                    <a:pt x="192968" y="13814"/>
                  </a:cubicBezTo>
                  <a:cubicBezTo>
                    <a:pt x="194766" y="15260"/>
                    <a:pt x="195126" y="18153"/>
                    <a:pt x="193687" y="19961"/>
                  </a:cubicBezTo>
                  <a:cubicBezTo>
                    <a:pt x="192249" y="22131"/>
                    <a:pt x="189371" y="22492"/>
                    <a:pt x="187213" y="21046"/>
                  </a:cubicBezTo>
                  <a:cubicBezTo>
                    <a:pt x="176064" y="12729"/>
                    <a:pt x="162396" y="8751"/>
                    <a:pt x="148369" y="9113"/>
                  </a:cubicBezTo>
                  <a:cubicBezTo>
                    <a:pt x="117437" y="10921"/>
                    <a:pt x="92261" y="37680"/>
                    <a:pt x="91901" y="68780"/>
                  </a:cubicBezTo>
                  <a:cubicBezTo>
                    <a:pt x="91901" y="82883"/>
                    <a:pt x="96577" y="95901"/>
                    <a:pt x="105209" y="106388"/>
                  </a:cubicBezTo>
                  <a:cubicBezTo>
                    <a:pt x="114560" y="117960"/>
                    <a:pt x="119595" y="132786"/>
                    <a:pt x="119595" y="148697"/>
                  </a:cubicBezTo>
                  <a:lnTo>
                    <a:pt x="183617" y="148697"/>
                  </a:lnTo>
                  <a:lnTo>
                    <a:pt x="183617" y="147612"/>
                  </a:lnTo>
                  <a:cubicBezTo>
                    <a:pt x="183617" y="132786"/>
                    <a:pt x="188652" y="118321"/>
                    <a:pt x="198003" y="106388"/>
                  </a:cubicBezTo>
                  <a:cubicBezTo>
                    <a:pt x="206635" y="95539"/>
                    <a:pt x="211311" y="82883"/>
                    <a:pt x="211311" y="69141"/>
                  </a:cubicBezTo>
                  <a:cubicBezTo>
                    <a:pt x="211311" y="66610"/>
                    <a:pt x="210951" y="64440"/>
                    <a:pt x="210592" y="61909"/>
                  </a:cubicBezTo>
                  <a:cubicBezTo>
                    <a:pt x="210592" y="59739"/>
                    <a:pt x="212390" y="57208"/>
                    <a:pt x="214908" y="56846"/>
                  </a:cubicBezTo>
                  <a:cubicBezTo>
                    <a:pt x="217425" y="56485"/>
                    <a:pt x="219583" y="58293"/>
                    <a:pt x="219943" y="60824"/>
                  </a:cubicBezTo>
                  <a:cubicBezTo>
                    <a:pt x="220303" y="63717"/>
                    <a:pt x="220303" y="66248"/>
                    <a:pt x="220303" y="69141"/>
                  </a:cubicBezTo>
                  <a:cubicBezTo>
                    <a:pt x="220303" y="84691"/>
                    <a:pt x="214908" y="100240"/>
                    <a:pt x="205197" y="112174"/>
                  </a:cubicBezTo>
                  <a:cubicBezTo>
                    <a:pt x="197284" y="122299"/>
                    <a:pt x="192968" y="134956"/>
                    <a:pt x="192968" y="147612"/>
                  </a:cubicBezTo>
                  <a:lnTo>
                    <a:pt x="192968" y="153036"/>
                  </a:lnTo>
                  <a:cubicBezTo>
                    <a:pt x="192968" y="155929"/>
                    <a:pt x="190810" y="157738"/>
                    <a:pt x="188292" y="157738"/>
                  </a:cubicBezTo>
                  <a:lnTo>
                    <a:pt x="114920" y="157738"/>
                  </a:lnTo>
                  <a:cubicBezTo>
                    <a:pt x="112402" y="157738"/>
                    <a:pt x="110244" y="155929"/>
                    <a:pt x="110244" y="153036"/>
                  </a:cubicBezTo>
                  <a:lnTo>
                    <a:pt x="110244" y="149059"/>
                  </a:lnTo>
                  <a:cubicBezTo>
                    <a:pt x="110244" y="135317"/>
                    <a:pt x="105928" y="122299"/>
                    <a:pt x="98015" y="112535"/>
                  </a:cubicBezTo>
                  <a:cubicBezTo>
                    <a:pt x="88304" y="100240"/>
                    <a:pt x="82550" y="84691"/>
                    <a:pt x="82909" y="68780"/>
                  </a:cubicBezTo>
                  <a:cubicBezTo>
                    <a:pt x="82909" y="32618"/>
                    <a:pt x="112042" y="1880"/>
                    <a:pt x="147650" y="72"/>
                  </a:cubicBezTo>
                  <a:close/>
                </a:path>
              </a:pathLst>
            </a:custGeom>
            <a:solidFill>
              <a:schemeClr val="bg1"/>
            </a:solidFill>
            <a:ln>
              <a:noFill/>
            </a:ln>
            <a:effectLst/>
          </p:spPr>
          <p:txBody>
            <a:bodyPr anchor="ct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68" name="Freeform 792">
              <a:extLst>
                <a:ext uri="{FF2B5EF4-FFF2-40B4-BE49-F238E27FC236}">
                  <a16:creationId xmlns:a16="http://schemas.microsoft.com/office/drawing/2014/main" id="{674745B0-B9A9-4245-AC91-602D1A99DEA5}"/>
                </a:ext>
              </a:extLst>
            </p:cNvPr>
            <p:cNvSpPr>
              <a:spLocks noChangeArrowheads="1"/>
            </p:cNvSpPr>
            <p:nvPr/>
          </p:nvSpPr>
          <p:spPr bwMode="auto">
            <a:xfrm>
              <a:off x="7178569" y="5099034"/>
              <a:ext cx="336702" cy="284366"/>
            </a:xfrm>
            <a:custGeom>
              <a:avLst/>
              <a:gdLst>
                <a:gd name="T0" fmla="*/ 30314 w 306026"/>
                <a:gd name="T1" fmla="*/ 220957 h 258406"/>
                <a:gd name="T2" fmla="*/ 129917 w 306026"/>
                <a:gd name="T3" fmla="*/ 235223 h 258406"/>
                <a:gd name="T4" fmla="*/ 134608 w 306026"/>
                <a:gd name="T5" fmla="*/ 239860 h 258406"/>
                <a:gd name="T6" fmla="*/ 143630 w 306026"/>
                <a:gd name="T7" fmla="*/ 249133 h 258406"/>
                <a:gd name="T8" fmla="*/ 171779 w 306026"/>
                <a:gd name="T9" fmla="*/ 239860 h 258406"/>
                <a:gd name="T10" fmla="*/ 282569 w 306026"/>
                <a:gd name="T11" fmla="*/ 235223 h 258406"/>
                <a:gd name="T12" fmla="*/ 156622 w 306026"/>
                <a:gd name="T13" fmla="*/ 229517 h 258406"/>
                <a:gd name="T14" fmla="*/ 81649 w 306026"/>
                <a:gd name="T15" fmla="*/ 208919 h 258406"/>
                <a:gd name="T16" fmla="*/ 153013 w 306026"/>
                <a:gd name="T17" fmla="*/ 219887 h 258406"/>
                <a:gd name="T18" fmla="*/ 283652 w 306026"/>
                <a:gd name="T19" fmla="*/ 215607 h 258406"/>
                <a:gd name="T20" fmla="*/ 301335 w 306026"/>
                <a:gd name="T21" fmla="*/ 235223 h 258406"/>
                <a:gd name="T22" fmla="*/ 301335 w 306026"/>
                <a:gd name="T23" fmla="*/ 244497 h 258406"/>
                <a:gd name="T24" fmla="*/ 162396 w 306026"/>
                <a:gd name="T25" fmla="*/ 258406 h 258406"/>
                <a:gd name="T26" fmla="*/ 125947 w 306026"/>
                <a:gd name="T27" fmla="*/ 244497 h 258406"/>
                <a:gd name="T28" fmla="*/ 0 w 306026"/>
                <a:gd name="T29" fmla="*/ 239860 h 258406"/>
                <a:gd name="T30" fmla="*/ 13714 w 306026"/>
                <a:gd name="T31" fmla="*/ 235223 h 258406"/>
                <a:gd name="T32" fmla="*/ 24901 w 306026"/>
                <a:gd name="T33" fmla="*/ 213110 h 258406"/>
                <a:gd name="T34" fmla="*/ 157500 w 306026"/>
                <a:gd name="T35" fmla="*/ 124634 h 258406"/>
                <a:gd name="T36" fmla="*/ 202715 w 306026"/>
                <a:gd name="T37" fmla="*/ 174200 h 258406"/>
                <a:gd name="T38" fmla="*/ 157500 w 306026"/>
                <a:gd name="T39" fmla="*/ 124634 h 258406"/>
                <a:gd name="T40" fmla="*/ 102954 w 306026"/>
                <a:gd name="T41" fmla="*/ 174200 h 258406"/>
                <a:gd name="T42" fmla="*/ 148170 w 306026"/>
                <a:gd name="T43" fmla="*/ 124634 h 258406"/>
                <a:gd name="T44" fmla="*/ 202715 w 306026"/>
                <a:gd name="T45" fmla="*/ 65729 h 258406"/>
                <a:gd name="T46" fmla="*/ 157500 w 306026"/>
                <a:gd name="T47" fmla="*/ 115655 h 258406"/>
                <a:gd name="T48" fmla="*/ 202715 w 306026"/>
                <a:gd name="T49" fmla="*/ 65729 h 258406"/>
                <a:gd name="T50" fmla="*/ 91112 w 306026"/>
                <a:gd name="T51" fmla="*/ 115655 h 258406"/>
                <a:gd name="T52" fmla="*/ 148170 w 306026"/>
                <a:gd name="T53" fmla="*/ 76504 h 258406"/>
                <a:gd name="T54" fmla="*/ 234294 w 306026"/>
                <a:gd name="T55" fmla="*/ 44897 h 258406"/>
                <a:gd name="T56" fmla="*/ 224246 w 306026"/>
                <a:gd name="T57" fmla="*/ 115655 h 258406"/>
                <a:gd name="T58" fmla="*/ 234294 w 306026"/>
                <a:gd name="T59" fmla="*/ 44897 h 258406"/>
                <a:gd name="T60" fmla="*/ 42667 w 306026"/>
                <a:gd name="T61" fmla="*/ 115655 h 258406"/>
                <a:gd name="T62" fmla="*/ 95060 w 306026"/>
                <a:gd name="T63" fmla="*/ 61778 h 258406"/>
                <a:gd name="T64" fmla="*/ 157500 w 306026"/>
                <a:gd name="T65" fmla="*/ 13289 h 258406"/>
                <a:gd name="T66" fmla="*/ 198768 w 306026"/>
                <a:gd name="T67" fmla="*/ 57827 h 258406"/>
                <a:gd name="T68" fmla="*/ 148170 w 306026"/>
                <a:gd name="T69" fmla="*/ 13289 h 258406"/>
                <a:gd name="T70" fmla="*/ 148170 w 306026"/>
                <a:gd name="T71" fmla="*/ 67525 h 258406"/>
                <a:gd name="T72" fmla="*/ 169701 w 306026"/>
                <a:gd name="T73" fmla="*/ 10775 h 258406"/>
                <a:gd name="T74" fmla="*/ 227835 w 306026"/>
                <a:gd name="T75" fmla="*/ 38432 h 258406"/>
                <a:gd name="T76" fmla="*/ 135969 w 306026"/>
                <a:gd name="T77" fmla="*/ 10775 h 258406"/>
                <a:gd name="T78" fmla="*/ 99007 w 306026"/>
                <a:gd name="T79" fmla="*/ 53517 h 258406"/>
                <a:gd name="T80" fmla="*/ 152835 w 306026"/>
                <a:gd name="T81" fmla="*/ 0 h 258406"/>
                <a:gd name="T82" fmla="*/ 249725 w 306026"/>
                <a:gd name="T83" fmla="*/ 190723 h 258406"/>
                <a:gd name="T84" fmla="*/ 243266 w 306026"/>
                <a:gd name="T85" fmla="*/ 191800 h 258406"/>
                <a:gd name="T86" fmla="*/ 263361 w 306026"/>
                <a:gd name="T87" fmla="*/ 124634 h 258406"/>
                <a:gd name="T88" fmla="*/ 210969 w 306026"/>
                <a:gd name="T89" fmla="*/ 178511 h 258406"/>
                <a:gd name="T90" fmla="*/ 222093 w 306026"/>
                <a:gd name="T91" fmla="*/ 190364 h 258406"/>
                <a:gd name="T92" fmla="*/ 215634 w 306026"/>
                <a:gd name="T93" fmla="*/ 191800 h 258406"/>
                <a:gd name="T94" fmla="*/ 157500 w 306026"/>
                <a:gd name="T95" fmla="*/ 202935 h 258406"/>
                <a:gd name="T96" fmla="*/ 148170 w 306026"/>
                <a:gd name="T97" fmla="*/ 202935 h 258406"/>
                <a:gd name="T98" fmla="*/ 90395 w 306026"/>
                <a:gd name="T99" fmla="*/ 191800 h 258406"/>
                <a:gd name="T100" fmla="*/ 83935 w 306026"/>
                <a:gd name="T101" fmla="*/ 190364 h 258406"/>
                <a:gd name="T102" fmla="*/ 94701 w 306026"/>
                <a:gd name="T103" fmla="*/ 178511 h 258406"/>
                <a:gd name="T104" fmla="*/ 42667 w 306026"/>
                <a:gd name="T105" fmla="*/ 124634 h 258406"/>
                <a:gd name="T106" fmla="*/ 62404 w 306026"/>
                <a:gd name="T107" fmla="*/ 191800 h 258406"/>
                <a:gd name="T108" fmla="*/ 56304 w 306026"/>
                <a:gd name="T109" fmla="*/ 190723 h 258406"/>
                <a:gd name="T110" fmla="*/ 152835 w 306026"/>
                <a:gd name="T111" fmla="*/ 0 h 258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026" h="258406">
                  <a:moveTo>
                    <a:pt x="81649" y="208919"/>
                  </a:moveTo>
                  <a:cubicBezTo>
                    <a:pt x="57561" y="211148"/>
                    <a:pt x="36269" y="218817"/>
                    <a:pt x="30314" y="220957"/>
                  </a:cubicBezTo>
                  <a:lnTo>
                    <a:pt x="23818" y="235223"/>
                  </a:lnTo>
                  <a:lnTo>
                    <a:pt x="129917" y="235223"/>
                  </a:lnTo>
                  <a:cubicBezTo>
                    <a:pt x="131361" y="235223"/>
                    <a:pt x="132443" y="235937"/>
                    <a:pt x="133165" y="236650"/>
                  </a:cubicBezTo>
                  <a:cubicBezTo>
                    <a:pt x="133887" y="237363"/>
                    <a:pt x="134608" y="238433"/>
                    <a:pt x="134608" y="239860"/>
                  </a:cubicBezTo>
                  <a:cubicBezTo>
                    <a:pt x="134608" y="242357"/>
                    <a:pt x="135330" y="244497"/>
                    <a:pt x="137495" y="246280"/>
                  </a:cubicBezTo>
                  <a:cubicBezTo>
                    <a:pt x="138939" y="248063"/>
                    <a:pt x="141465" y="249133"/>
                    <a:pt x="143630" y="249133"/>
                  </a:cubicBezTo>
                  <a:lnTo>
                    <a:pt x="162396" y="249133"/>
                  </a:lnTo>
                  <a:cubicBezTo>
                    <a:pt x="167448" y="249133"/>
                    <a:pt x="171779" y="244853"/>
                    <a:pt x="171779" y="239860"/>
                  </a:cubicBezTo>
                  <a:cubicBezTo>
                    <a:pt x="171779" y="237363"/>
                    <a:pt x="173583" y="235223"/>
                    <a:pt x="176470" y="235223"/>
                  </a:cubicBezTo>
                  <a:lnTo>
                    <a:pt x="282569" y="235223"/>
                  </a:lnTo>
                  <a:lnTo>
                    <a:pt x="275712" y="220957"/>
                  </a:lnTo>
                  <a:cubicBezTo>
                    <a:pt x="264164" y="216677"/>
                    <a:pt x="190906" y="190283"/>
                    <a:pt x="156622" y="229517"/>
                  </a:cubicBezTo>
                  <a:cubicBezTo>
                    <a:pt x="154818" y="231657"/>
                    <a:pt x="151570" y="231657"/>
                    <a:pt x="149765" y="229517"/>
                  </a:cubicBezTo>
                  <a:cubicBezTo>
                    <a:pt x="132624" y="209900"/>
                    <a:pt x="105738" y="206690"/>
                    <a:pt x="81649" y="208919"/>
                  </a:cubicBezTo>
                  <a:close/>
                  <a:moveTo>
                    <a:pt x="74341" y="200181"/>
                  </a:moveTo>
                  <a:cubicBezTo>
                    <a:pt x="100595" y="196793"/>
                    <a:pt x="131721" y="198843"/>
                    <a:pt x="153013" y="219887"/>
                  </a:cubicBezTo>
                  <a:cubicBezTo>
                    <a:pt x="195958" y="177800"/>
                    <a:pt x="277517" y="211683"/>
                    <a:pt x="281126" y="213110"/>
                  </a:cubicBezTo>
                  <a:cubicBezTo>
                    <a:pt x="282208" y="213467"/>
                    <a:pt x="282930" y="214537"/>
                    <a:pt x="283652" y="215607"/>
                  </a:cubicBezTo>
                  <a:lnTo>
                    <a:pt x="292674" y="235223"/>
                  </a:lnTo>
                  <a:lnTo>
                    <a:pt x="301335" y="235223"/>
                  </a:lnTo>
                  <a:cubicBezTo>
                    <a:pt x="303861" y="235223"/>
                    <a:pt x="306026" y="237363"/>
                    <a:pt x="306026" y="239860"/>
                  </a:cubicBezTo>
                  <a:cubicBezTo>
                    <a:pt x="306026" y="242357"/>
                    <a:pt x="303861" y="244497"/>
                    <a:pt x="301335" y="244497"/>
                  </a:cubicBezTo>
                  <a:lnTo>
                    <a:pt x="180440" y="244497"/>
                  </a:lnTo>
                  <a:cubicBezTo>
                    <a:pt x="178275" y="252343"/>
                    <a:pt x="171057" y="258406"/>
                    <a:pt x="162396" y="258406"/>
                  </a:cubicBezTo>
                  <a:lnTo>
                    <a:pt x="143630" y="258406"/>
                  </a:lnTo>
                  <a:cubicBezTo>
                    <a:pt x="135330" y="258406"/>
                    <a:pt x="127752" y="252343"/>
                    <a:pt x="125947" y="244497"/>
                  </a:cubicBezTo>
                  <a:lnTo>
                    <a:pt x="4692" y="244497"/>
                  </a:lnTo>
                  <a:cubicBezTo>
                    <a:pt x="2166" y="244497"/>
                    <a:pt x="0" y="242357"/>
                    <a:pt x="0" y="239860"/>
                  </a:cubicBezTo>
                  <a:cubicBezTo>
                    <a:pt x="0" y="237363"/>
                    <a:pt x="2166" y="235223"/>
                    <a:pt x="4692" y="235223"/>
                  </a:cubicBezTo>
                  <a:lnTo>
                    <a:pt x="13714" y="235223"/>
                  </a:lnTo>
                  <a:lnTo>
                    <a:pt x="22736" y="215607"/>
                  </a:lnTo>
                  <a:cubicBezTo>
                    <a:pt x="23097" y="214537"/>
                    <a:pt x="24179" y="213467"/>
                    <a:pt x="24901" y="213110"/>
                  </a:cubicBezTo>
                  <a:cubicBezTo>
                    <a:pt x="26705" y="212397"/>
                    <a:pt x="48087" y="203569"/>
                    <a:pt x="74341" y="200181"/>
                  </a:cubicBezTo>
                  <a:close/>
                  <a:moveTo>
                    <a:pt x="157500" y="124634"/>
                  </a:moveTo>
                  <a:lnTo>
                    <a:pt x="157500" y="163425"/>
                  </a:lnTo>
                  <a:cubicBezTo>
                    <a:pt x="173289" y="164143"/>
                    <a:pt x="188720" y="167735"/>
                    <a:pt x="202715" y="174200"/>
                  </a:cubicBezTo>
                  <a:cubicBezTo>
                    <a:pt x="210251" y="158397"/>
                    <a:pt x="214199" y="141874"/>
                    <a:pt x="214916" y="124634"/>
                  </a:cubicBezTo>
                  <a:lnTo>
                    <a:pt x="157500" y="124634"/>
                  </a:lnTo>
                  <a:close/>
                  <a:moveTo>
                    <a:pt x="91112" y="124634"/>
                  </a:moveTo>
                  <a:cubicBezTo>
                    <a:pt x="91471" y="141874"/>
                    <a:pt x="95419" y="158397"/>
                    <a:pt x="102954" y="174200"/>
                  </a:cubicBezTo>
                  <a:cubicBezTo>
                    <a:pt x="116950" y="167735"/>
                    <a:pt x="132380" y="164143"/>
                    <a:pt x="148170" y="163425"/>
                  </a:cubicBezTo>
                  <a:lnTo>
                    <a:pt x="148170" y="124634"/>
                  </a:lnTo>
                  <a:lnTo>
                    <a:pt x="91112" y="124634"/>
                  </a:lnTo>
                  <a:close/>
                  <a:moveTo>
                    <a:pt x="202715" y="65729"/>
                  </a:moveTo>
                  <a:cubicBezTo>
                    <a:pt x="188720" y="72194"/>
                    <a:pt x="173648" y="76145"/>
                    <a:pt x="157500" y="76504"/>
                  </a:cubicBezTo>
                  <a:lnTo>
                    <a:pt x="157500" y="115655"/>
                  </a:lnTo>
                  <a:lnTo>
                    <a:pt x="214916" y="115655"/>
                  </a:lnTo>
                  <a:cubicBezTo>
                    <a:pt x="214557" y="98055"/>
                    <a:pt x="210251" y="81174"/>
                    <a:pt x="202715" y="65729"/>
                  </a:cubicBezTo>
                  <a:close/>
                  <a:moveTo>
                    <a:pt x="103313" y="65729"/>
                  </a:moveTo>
                  <a:cubicBezTo>
                    <a:pt x="95777" y="81174"/>
                    <a:pt x="91471" y="98055"/>
                    <a:pt x="91112" y="115655"/>
                  </a:cubicBezTo>
                  <a:lnTo>
                    <a:pt x="148170" y="115655"/>
                  </a:lnTo>
                  <a:lnTo>
                    <a:pt x="148170" y="76504"/>
                  </a:lnTo>
                  <a:cubicBezTo>
                    <a:pt x="132380" y="76145"/>
                    <a:pt x="117309" y="72553"/>
                    <a:pt x="103313" y="65729"/>
                  </a:cubicBezTo>
                  <a:close/>
                  <a:moveTo>
                    <a:pt x="234294" y="44897"/>
                  </a:moveTo>
                  <a:cubicBezTo>
                    <a:pt x="227117" y="51721"/>
                    <a:pt x="219222" y="57109"/>
                    <a:pt x="210969" y="61778"/>
                  </a:cubicBezTo>
                  <a:cubicBezTo>
                    <a:pt x="219222" y="78300"/>
                    <a:pt x="223529" y="96618"/>
                    <a:pt x="224246" y="115655"/>
                  </a:cubicBezTo>
                  <a:lnTo>
                    <a:pt x="263720" y="115655"/>
                  </a:lnTo>
                  <a:cubicBezTo>
                    <a:pt x="262285" y="88357"/>
                    <a:pt x="251160" y="63574"/>
                    <a:pt x="234294" y="44897"/>
                  </a:cubicBezTo>
                  <a:close/>
                  <a:moveTo>
                    <a:pt x="71734" y="44897"/>
                  </a:moveTo>
                  <a:cubicBezTo>
                    <a:pt x="54510" y="63933"/>
                    <a:pt x="43385" y="88357"/>
                    <a:pt x="42667" y="115655"/>
                  </a:cubicBezTo>
                  <a:lnTo>
                    <a:pt x="81782" y="115655"/>
                  </a:lnTo>
                  <a:cubicBezTo>
                    <a:pt x="82500" y="96618"/>
                    <a:pt x="86806" y="78300"/>
                    <a:pt x="95060" y="61778"/>
                  </a:cubicBezTo>
                  <a:cubicBezTo>
                    <a:pt x="86447" y="57109"/>
                    <a:pt x="78911" y="51721"/>
                    <a:pt x="71734" y="44897"/>
                  </a:cubicBezTo>
                  <a:close/>
                  <a:moveTo>
                    <a:pt x="157500" y="13289"/>
                  </a:moveTo>
                  <a:lnTo>
                    <a:pt x="157500" y="67525"/>
                  </a:lnTo>
                  <a:cubicBezTo>
                    <a:pt x="171854" y="66807"/>
                    <a:pt x="185849" y="63215"/>
                    <a:pt x="198768" y="57827"/>
                  </a:cubicBezTo>
                  <a:cubicBezTo>
                    <a:pt x="188720" y="40228"/>
                    <a:pt x="174725" y="24783"/>
                    <a:pt x="157500" y="13289"/>
                  </a:cubicBezTo>
                  <a:close/>
                  <a:moveTo>
                    <a:pt x="148170" y="13289"/>
                  </a:moveTo>
                  <a:cubicBezTo>
                    <a:pt x="131304" y="24783"/>
                    <a:pt x="116950" y="39868"/>
                    <a:pt x="107261" y="57827"/>
                  </a:cubicBezTo>
                  <a:cubicBezTo>
                    <a:pt x="120179" y="63215"/>
                    <a:pt x="133816" y="66807"/>
                    <a:pt x="148170" y="67525"/>
                  </a:cubicBezTo>
                  <a:lnTo>
                    <a:pt x="148170" y="13289"/>
                  </a:lnTo>
                  <a:close/>
                  <a:moveTo>
                    <a:pt x="169701" y="10775"/>
                  </a:moveTo>
                  <a:cubicBezTo>
                    <a:pt x="185132" y="22269"/>
                    <a:pt x="197691" y="36995"/>
                    <a:pt x="207022" y="53517"/>
                  </a:cubicBezTo>
                  <a:cubicBezTo>
                    <a:pt x="214199" y="49207"/>
                    <a:pt x="221376" y="44538"/>
                    <a:pt x="227835" y="38432"/>
                  </a:cubicBezTo>
                  <a:cubicBezTo>
                    <a:pt x="212045" y="24065"/>
                    <a:pt x="191950" y="14008"/>
                    <a:pt x="169701" y="10775"/>
                  </a:cubicBezTo>
                  <a:close/>
                  <a:moveTo>
                    <a:pt x="135969" y="10775"/>
                  </a:moveTo>
                  <a:cubicBezTo>
                    <a:pt x="114079" y="14008"/>
                    <a:pt x="93983" y="24065"/>
                    <a:pt x="78194" y="38432"/>
                  </a:cubicBezTo>
                  <a:cubicBezTo>
                    <a:pt x="84653" y="44538"/>
                    <a:pt x="91830" y="49207"/>
                    <a:pt x="99007" y="53517"/>
                  </a:cubicBezTo>
                  <a:cubicBezTo>
                    <a:pt x="108337" y="36995"/>
                    <a:pt x="120897" y="22269"/>
                    <a:pt x="135969" y="10775"/>
                  </a:cubicBezTo>
                  <a:close/>
                  <a:moveTo>
                    <a:pt x="152835" y="0"/>
                  </a:moveTo>
                  <a:cubicBezTo>
                    <a:pt x="219222" y="0"/>
                    <a:pt x="272691" y="53876"/>
                    <a:pt x="272691" y="119965"/>
                  </a:cubicBezTo>
                  <a:cubicBezTo>
                    <a:pt x="272691" y="145825"/>
                    <a:pt x="264797" y="170249"/>
                    <a:pt x="249725" y="190723"/>
                  </a:cubicBezTo>
                  <a:cubicBezTo>
                    <a:pt x="249007" y="192159"/>
                    <a:pt x="247572" y="192878"/>
                    <a:pt x="246136" y="192878"/>
                  </a:cubicBezTo>
                  <a:cubicBezTo>
                    <a:pt x="245060" y="192878"/>
                    <a:pt x="243983" y="192159"/>
                    <a:pt x="243266" y="191800"/>
                  </a:cubicBezTo>
                  <a:cubicBezTo>
                    <a:pt x="241112" y="190004"/>
                    <a:pt x="240754" y="187490"/>
                    <a:pt x="242189" y="185335"/>
                  </a:cubicBezTo>
                  <a:cubicBezTo>
                    <a:pt x="255467" y="167735"/>
                    <a:pt x="262644" y="146544"/>
                    <a:pt x="263361" y="124634"/>
                  </a:cubicBezTo>
                  <a:lnTo>
                    <a:pt x="224246" y="124634"/>
                  </a:lnTo>
                  <a:cubicBezTo>
                    <a:pt x="223529" y="143311"/>
                    <a:pt x="219222" y="161270"/>
                    <a:pt x="210969" y="178511"/>
                  </a:cubicBezTo>
                  <a:cubicBezTo>
                    <a:pt x="214557" y="179947"/>
                    <a:pt x="217787" y="182102"/>
                    <a:pt x="220658" y="184258"/>
                  </a:cubicBezTo>
                  <a:cubicBezTo>
                    <a:pt x="222811" y="185694"/>
                    <a:pt x="223170" y="188568"/>
                    <a:pt x="222093" y="190364"/>
                  </a:cubicBezTo>
                  <a:cubicBezTo>
                    <a:pt x="221017" y="191800"/>
                    <a:pt x="219581" y="192878"/>
                    <a:pt x="218146" y="192878"/>
                  </a:cubicBezTo>
                  <a:cubicBezTo>
                    <a:pt x="217069" y="192878"/>
                    <a:pt x="216352" y="192159"/>
                    <a:pt x="215634" y="191800"/>
                  </a:cubicBezTo>
                  <a:cubicBezTo>
                    <a:pt x="198409" y="179947"/>
                    <a:pt x="178313" y="173482"/>
                    <a:pt x="157500" y="172764"/>
                  </a:cubicBezTo>
                  <a:lnTo>
                    <a:pt x="157500" y="202935"/>
                  </a:lnTo>
                  <a:cubicBezTo>
                    <a:pt x="157500" y="205449"/>
                    <a:pt x="155347" y="207604"/>
                    <a:pt x="152835" y="207604"/>
                  </a:cubicBezTo>
                  <a:cubicBezTo>
                    <a:pt x="150323" y="207604"/>
                    <a:pt x="148170" y="205449"/>
                    <a:pt x="148170" y="202935"/>
                  </a:cubicBezTo>
                  <a:lnTo>
                    <a:pt x="148170" y="172764"/>
                  </a:lnTo>
                  <a:cubicBezTo>
                    <a:pt x="127356" y="173482"/>
                    <a:pt x="107620" y="179947"/>
                    <a:pt x="90395" y="191800"/>
                  </a:cubicBezTo>
                  <a:cubicBezTo>
                    <a:pt x="89677" y="192519"/>
                    <a:pt x="88600" y="192878"/>
                    <a:pt x="87883" y="192878"/>
                  </a:cubicBezTo>
                  <a:cubicBezTo>
                    <a:pt x="86447" y="192878"/>
                    <a:pt x="85012" y="191800"/>
                    <a:pt x="83935" y="190364"/>
                  </a:cubicBezTo>
                  <a:cubicBezTo>
                    <a:pt x="82500" y="188568"/>
                    <a:pt x="82859" y="185694"/>
                    <a:pt x="85012" y="184258"/>
                  </a:cubicBezTo>
                  <a:cubicBezTo>
                    <a:pt x="88242" y="182102"/>
                    <a:pt x="91471" y="180307"/>
                    <a:pt x="94701" y="178511"/>
                  </a:cubicBezTo>
                  <a:cubicBezTo>
                    <a:pt x="86447" y="161270"/>
                    <a:pt x="82500" y="143311"/>
                    <a:pt x="81782" y="124634"/>
                  </a:cubicBezTo>
                  <a:lnTo>
                    <a:pt x="42667" y="124634"/>
                  </a:lnTo>
                  <a:cubicBezTo>
                    <a:pt x="43385" y="146544"/>
                    <a:pt x="50562" y="167735"/>
                    <a:pt x="63481" y="185335"/>
                  </a:cubicBezTo>
                  <a:cubicBezTo>
                    <a:pt x="64916" y="187490"/>
                    <a:pt x="64557" y="190004"/>
                    <a:pt x="62404" y="191800"/>
                  </a:cubicBezTo>
                  <a:cubicBezTo>
                    <a:pt x="61687" y="192159"/>
                    <a:pt x="60969" y="192878"/>
                    <a:pt x="59892" y="192878"/>
                  </a:cubicBezTo>
                  <a:cubicBezTo>
                    <a:pt x="58457" y="192878"/>
                    <a:pt x="57021" y="192159"/>
                    <a:pt x="56304" y="190723"/>
                  </a:cubicBezTo>
                  <a:cubicBezTo>
                    <a:pt x="40873" y="170249"/>
                    <a:pt x="33337" y="145825"/>
                    <a:pt x="33337" y="119965"/>
                  </a:cubicBezTo>
                  <a:cubicBezTo>
                    <a:pt x="33337" y="53876"/>
                    <a:pt x="86806" y="0"/>
                    <a:pt x="152835" y="0"/>
                  </a:cubicBezTo>
                  <a:close/>
                </a:path>
              </a:pathLst>
            </a:custGeom>
            <a:solidFill>
              <a:schemeClr val="bg1"/>
            </a:solidFill>
            <a:ln>
              <a:noFill/>
            </a:ln>
            <a:effectLst/>
          </p:spPr>
          <p:txBody>
            <a:bodyPr anchor="ct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grpSp>
      <p:grpSp>
        <p:nvGrpSpPr>
          <p:cNvPr id="2" name="Group 1"/>
          <p:cNvGrpSpPr/>
          <p:nvPr/>
        </p:nvGrpSpPr>
        <p:grpSpPr>
          <a:xfrm>
            <a:off x="174832" y="1376363"/>
            <a:ext cx="3981363" cy="1280296"/>
            <a:chOff x="178114" y="1589314"/>
            <a:chExt cx="3981363" cy="1280296"/>
          </a:xfrm>
        </p:grpSpPr>
        <p:grpSp>
          <p:nvGrpSpPr>
            <p:cNvPr id="6" name="Group 5"/>
            <p:cNvGrpSpPr/>
            <p:nvPr/>
          </p:nvGrpSpPr>
          <p:grpSpPr>
            <a:xfrm>
              <a:off x="178114" y="2022455"/>
              <a:ext cx="3248431" cy="847155"/>
              <a:chOff x="652318" y="1730454"/>
              <a:chExt cx="2773506" cy="847155"/>
            </a:xfrm>
          </p:grpSpPr>
          <p:sp>
            <p:nvSpPr>
              <p:cNvPr id="19" name="Shape 63926">
                <a:extLst>
                  <a:ext uri="{FF2B5EF4-FFF2-40B4-BE49-F238E27FC236}">
                    <a16:creationId xmlns:a16="http://schemas.microsoft.com/office/drawing/2014/main" id="{BB4B831F-3920-BE43-A3C6-FC58583EEFD9}"/>
                  </a:ext>
                </a:extLst>
              </p:cNvPr>
              <p:cNvSpPr/>
              <p:nvPr/>
            </p:nvSpPr>
            <p:spPr>
              <a:xfrm>
                <a:off x="652318" y="2049829"/>
                <a:ext cx="176682" cy="211718"/>
              </a:xfrm>
              <a:prstGeom prst="diamond">
                <a:avLst/>
              </a:prstGeom>
              <a:solidFill>
                <a:schemeClr val="accent1">
                  <a:lumMod val="90000"/>
                  <a:lumOff val="10000"/>
                </a:schemeClr>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58" name="Subtitle 2">
                <a:extLst>
                  <a:ext uri="{FF2B5EF4-FFF2-40B4-BE49-F238E27FC236}">
                    <a16:creationId xmlns:a16="http://schemas.microsoft.com/office/drawing/2014/main" id="{537A5283-53E8-DF46-B934-88EFD35B0252}"/>
                  </a:ext>
                </a:extLst>
              </p:cNvPr>
              <p:cNvSpPr txBox="1">
                <a:spLocks/>
              </p:cNvSpPr>
              <p:nvPr/>
            </p:nvSpPr>
            <p:spPr>
              <a:xfrm>
                <a:off x="903545" y="1730454"/>
                <a:ext cx="2522279" cy="847155"/>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Tx/>
                  <a:buSzTx/>
                  <a:buFont typeface="Arial"/>
                  <a:buNone/>
                  <a:tabLst/>
                  <a:defRPr/>
                </a:pPr>
                <a:r>
                  <a:rPr kumimoji="0" lang="en-AU" sz="1100" b="0" i="0" u="none" strike="noStrike" kern="1200" cap="none" spc="0" normalizeH="0" baseline="0" noProof="0" dirty="0">
                    <a:ln>
                      <a:noFill/>
                    </a:ln>
                    <a:solidFill>
                      <a:srgbClr val="041E42"/>
                    </a:solidFill>
                    <a:effectLst/>
                    <a:uLnTx/>
                    <a:uFillTx/>
                    <a:latin typeface="Montserrat Medium"/>
                    <a:ea typeface="+mn-ea"/>
                  </a:rPr>
                  <a:t>Robust on-ground support to </a:t>
                </a:r>
                <a:r>
                  <a:rPr kumimoji="0" lang="en-AU" sz="1100" b="1" i="0" u="none" strike="noStrike" kern="1200" cap="none" spc="0" normalizeH="0" baseline="0" noProof="0" dirty="0">
                    <a:ln>
                      <a:noFill/>
                    </a:ln>
                    <a:solidFill>
                      <a:srgbClr val="041E42"/>
                    </a:solidFill>
                    <a:effectLst/>
                    <a:uLnTx/>
                    <a:uFillTx/>
                    <a:latin typeface="Montserrat Medium"/>
                    <a:ea typeface="+mn-ea"/>
                  </a:rPr>
                  <a:t>drive a cultural shift by building system capacity, leadership and expertise across schools and through specialist services</a:t>
                </a:r>
                <a:endParaRPr kumimoji="0" lang="en-AU" sz="1100" b="0" i="0" u="none" strike="noStrike" kern="1200" cap="none" spc="0" normalizeH="0" baseline="0" noProof="0" dirty="0">
                  <a:ln>
                    <a:noFill/>
                  </a:ln>
                  <a:solidFill>
                    <a:srgbClr val="041E42"/>
                  </a:solidFill>
                  <a:effectLst/>
                  <a:uLnTx/>
                  <a:uFillTx/>
                  <a:latin typeface="Montserrat Medium"/>
                  <a:ea typeface="+mn-ea"/>
                </a:endParaRPr>
              </a:p>
            </p:txBody>
          </p:sp>
        </p:grpSp>
        <p:sp>
          <p:nvSpPr>
            <p:cNvPr id="4" name="Rectangle 3"/>
            <p:cNvSpPr/>
            <p:nvPr/>
          </p:nvSpPr>
          <p:spPr>
            <a:xfrm>
              <a:off x="195943" y="1589314"/>
              <a:ext cx="3963534" cy="3366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19233E"/>
                  </a:solidFill>
                  <a:effectLst/>
                  <a:uLnTx/>
                  <a:uFillTx/>
                  <a:latin typeface="Montserrat SemiBold"/>
                  <a:ea typeface="+mn-ea"/>
                  <a:cs typeface="+mn-cs"/>
                </a:rPr>
                <a:t>Stronger systems and leaders</a:t>
              </a:r>
            </a:p>
          </p:txBody>
        </p:sp>
        <p:cxnSp>
          <p:nvCxnSpPr>
            <p:cNvPr id="13" name="Straight Connector 12"/>
            <p:cNvCxnSpPr/>
            <p:nvPr/>
          </p:nvCxnSpPr>
          <p:spPr>
            <a:xfrm flipV="1">
              <a:off x="190531" y="1934026"/>
              <a:ext cx="2714563" cy="9125"/>
            </a:xfrm>
            <a:prstGeom prst="line">
              <a:avLst/>
            </a:prstGeom>
            <a:ln w="28575"/>
          </p:spPr>
          <p:style>
            <a:lnRef idx="3">
              <a:schemeClr val="accent5"/>
            </a:lnRef>
            <a:fillRef idx="0">
              <a:schemeClr val="accent5"/>
            </a:fillRef>
            <a:effectRef idx="2">
              <a:schemeClr val="accent5"/>
            </a:effectRef>
            <a:fontRef idx="minor">
              <a:schemeClr val="tx1"/>
            </a:fontRef>
          </p:style>
        </p:cxnSp>
      </p:grpSp>
      <p:grpSp>
        <p:nvGrpSpPr>
          <p:cNvPr id="18" name="Group 17"/>
          <p:cNvGrpSpPr/>
          <p:nvPr/>
        </p:nvGrpSpPr>
        <p:grpSpPr>
          <a:xfrm>
            <a:off x="172058" y="2764670"/>
            <a:ext cx="3603173" cy="2078785"/>
            <a:chOff x="179613" y="3113314"/>
            <a:chExt cx="3603173" cy="2078785"/>
          </a:xfrm>
        </p:grpSpPr>
        <p:cxnSp>
          <p:nvCxnSpPr>
            <p:cNvPr id="73" name="Straight Connector 72"/>
            <p:cNvCxnSpPr/>
            <p:nvPr/>
          </p:nvCxnSpPr>
          <p:spPr>
            <a:xfrm flipV="1">
              <a:off x="248641" y="3443042"/>
              <a:ext cx="3196688" cy="1"/>
            </a:xfrm>
            <a:prstGeom prst="line">
              <a:avLst/>
            </a:prstGeom>
            <a:ln w="28575"/>
          </p:spPr>
          <p:style>
            <a:lnRef idx="3">
              <a:schemeClr val="accent5"/>
            </a:lnRef>
            <a:fillRef idx="0">
              <a:schemeClr val="accent5"/>
            </a:fillRef>
            <a:effectRef idx="2">
              <a:schemeClr val="accent5"/>
            </a:effectRef>
            <a:fontRef idx="minor">
              <a:schemeClr val="tx1"/>
            </a:fontRef>
          </p:style>
        </p:cxnSp>
        <p:grpSp>
          <p:nvGrpSpPr>
            <p:cNvPr id="14" name="Group 13"/>
            <p:cNvGrpSpPr/>
            <p:nvPr/>
          </p:nvGrpSpPr>
          <p:grpSpPr>
            <a:xfrm>
              <a:off x="179613" y="3113314"/>
              <a:ext cx="3603173" cy="2078785"/>
              <a:chOff x="179613" y="3113314"/>
              <a:chExt cx="3603173" cy="2078785"/>
            </a:xfrm>
          </p:grpSpPr>
          <p:grpSp>
            <p:nvGrpSpPr>
              <p:cNvPr id="8" name="Group 7"/>
              <p:cNvGrpSpPr/>
              <p:nvPr/>
            </p:nvGrpSpPr>
            <p:grpSpPr>
              <a:xfrm>
                <a:off x="202406" y="3532414"/>
                <a:ext cx="3214018" cy="1659685"/>
                <a:chOff x="1055559" y="2844076"/>
                <a:chExt cx="3214018" cy="1659685"/>
              </a:xfrm>
            </p:grpSpPr>
            <p:sp>
              <p:nvSpPr>
                <p:cNvPr id="23" name="Shape 63921">
                  <a:extLst>
                    <a:ext uri="{FF2B5EF4-FFF2-40B4-BE49-F238E27FC236}">
                      <a16:creationId xmlns:a16="http://schemas.microsoft.com/office/drawing/2014/main" id="{B9A980B4-290C-4840-B4DE-002F1B8EBB85}"/>
                    </a:ext>
                  </a:extLst>
                </p:cNvPr>
                <p:cNvSpPr/>
                <p:nvPr/>
              </p:nvSpPr>
              <p:spPr>
                <a:xfrm>
                  <a:off x="1055559" y="3361714"/>
                  <a:ext cx="179387" cy="199346"/>
                </a:xfrm>
                <a:prstGeom prst="diamond">
                  <a:avLst/>
                </a:prstGeom>
                <a:solidFill>
                  <a:schemeClr val="accent3"/>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62" name="Subtitle 2">
                  <a:extLst>
                    <a:ext uri="{FF2B5EF4-FFF2-40B4-BE49-F238E27FC236}">
                      <a16:creationId xmlns:a16="http://schemas.microsoft.com/office/drawing/2014/main" id="{40CE4FD9-5AA5-584A-8381-FB2FD10D2636}"/>
                    </a:ext>
                  </a:extLst>
                </p:cNvPr>
                <p:cNvSpPr txBox="1">
                  <a:spLocks/>
                </p:cNvSpPr>
                <p:nvPr/>
              </p:nvSpPr>
              <p:spPr>
                <a:xfrm>
                  <a:off x="1348453" y="2844076"/>
                  <a:ext cx="2921124" cy="1659685"/>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Tx/>
                    <a:buSzTx/>
                    <a:buFont typeface="Arial"/>
                    <a:buNone/>
                    <a:tabLst/>
                    <a:defRPr/>
                  </a:pPr>
                  <a:r>
                    <a:rPr kumimoji="0" lang="en-AU" sz="1100" b="0" i="0" u="none" strike="noStrike" kern="1200" cap="none" spc="0" normalizeH="0" baseline="0" noProof="0" dirty="0">
                      <a:ln>
                        <a:noFill/>
                      </a:ln>
                      <a:solidFill>
                        <a:srgbClr val="041E42"/>
                      </a:solidFill>
                      <a:effectLst/>
                      <a:uLnTx/>
                      <a:uFillTx/>
                      <a:latin typeface="Montserrat Medium"/>
                      <a:ea typeface="+mn-ea"/>
                    </a:rPr>
                    <a:t>With a reduced Budget, we will </a:t>
                  </a:r>
                  <a:r>
                    <a:rPr kumimoji="0" lang="en-AU" sz="1100" b="1" i="0" u="none" strike="noStrike" kern="1200" cap="none" spc="0" normalizeH="0" baseline="0" noProof="0" dirty="0">
                      <a:ln>
                        <a:noFill/>
                      </a:ln>
                      <a:solidFill>
                        <a:srgbClr val="041E42"/>
                      </a:solidFill>
                      <a:effectLst/>
                      <a:uLnTx/>
                      <a:uFillTx/>
                      <a:latin typeface="Montserrat Medium"/>
                      <a:ea typeface="+mn-ea"/>
                    </a:rPr>
                    <a:t>repurpose PBL and strengthen existing positions </a:t>
                  </a:r>
                  <a:r>
                    <a:rPr kumimoji="0" lang="en-AU" sz="1100" b="0" i="0" u="none" strike="noStrike" kern="1200" cap="none" spc="0" normalizeH="0" baseline="0" noProof="0" dirty="0">
                      <a:ln>
                        <a:noFill/>
                      </a:ln>
                      <a:solidFill>
                        <a:srgbClr val="041E42"/>
                      </a:solidFill>
                      <a:effectLst/>
                      <a:uLnTx/>
                      <a:uFillTx/>
                      <a:latin typeface="Montserrat Medium"/>
                      <a:ea typeface="+mn-ea"/>
                    </a:rPr>
                    <a:t>to provide an expert workforce that collaborates across schools, networks &amp; School Services and, aligns its support to the School Excellence and Wellbeing Frameworks and Strategic Plans</a:t>
                  </a:r>
                </a:p>
              </p:txBody>
            </p:sp>
          </p:grpSp>
          <p:sp>
            <p:nvSpPr>
              <p:cNvPr id="75" name="Rectangle 74"/>
              <p:cNvSpPr/>
              <p:nvPr/>
            </p:nvSpPr>
            <p:spPr>
              <a:xfrm>
                <a:off x="179613" y="3113314"/>
                <a:ext cx="3603173" cy="3352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19233E"/>
                    </a:solidFill>
                    <a:effectLst/>
                    <a:uLnTx/>
                    <a:uFillTx/>
                    <a:latin typeface="Montserrat SemiBold"/>
                    <a:ea typeface="+mn-ea"/>
                    <a:cs typeface="+mn-cs"/>
                  </a:rPr>
                  <a:t>Expert workforce and strong collaboration</a:t>
                </a:r>
              </a:p>
            </p:txBody>
          </p:sp>
        </p:grpSp>
      </p:grpSp>
      <p:grpSp>
        <p:nvGrpSpPr>
          <p:cNvPr id="21" name="Group 20"/>
          <p:cNvGrpSpPr/>
          <p:nvPr/>
        </p:nvGrpSpPr>
        <p:grpSpPr>
          <a:xfrm>
            <a:off x="172058" y="4898570"/>
            <a:ext cx="4323004" cy="1395134"/>
            <a:chOff x="156583" y="5237441"/>
            <a:chExt cx="4323004" cy="1395134"/>
          </a:xfrm>
        </p:grpSpPr>
        <p:grpSp>
          <p:nvGrpSpPr>
            <p:cNvPr id="7" name="Group 6"/>
            <p:cNvGrpSpPr/>
            <p:nvPr/>
          </p:nvGrpSpPr>
          <p:grpSpPr>
            <a:xfrm>
              <a:off x="156583" y="5582287"/>
              <a:ext cx="2988255" cy="1050288"/>
              <a:chOff x="622420" y="2972975"/>
              <a:chExt cx="2588695" cy="1050288"/>
            </a:xfrm>
          </p:grpSpPr>
          <p:sp>
            <p:nvSpPr>
              <p:cNvPr id="15" name="Shape 63931">
                <a:extLst>
                  <a:ext uri="{FF2B5EF4-FFF2-40B4-BE49-F238E27FC236}">
                    <a16:creationId xmlns:a16="http://schemas.microsoft.com/office/drawing/2014/main" id="{304FA028-13B5-AB4B-ABAE-48FC7096078F}"/>
                  </a:ext>
                </a:extLst>
              </p:cNvPr>
              <p:cNvSpPr/>
              <p:nvPr/>
            </p:nvSpPr>
            <p:spPr>
              <a:xfrm>
                <a:off x="622420" y="3293444"/>
                <a:ext cx="165606" cy="213179"/>
              </a:xfrm>
              <a:prstGeom prst="diamond">
                <a:avLst/>
              </a:prstGeom>
              <a:solidFill>
                <a:schemeClr val="accent2"/>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60" name="Subtitle 2">
                <a:extLst>
                  <a:ext uri="{FF2B5EF4-FFF2-40B4-BE49-F238E27FC236}">
                    <a16:creationId xmlns:a16="http://schemas.microsoft.com/office/drawing/2014/main" id="{12FF079E-996F-7C47-9EAA-91B15AB58D79}"/>
                  </a:ext>
                </a:extLst>
              </p:cNvPr>
              <p:cNvSpPr txBox="1">
                <a:spLocks/>
              </p:cNvSpPr>
              <p:nvPr/>
            </p:nvSpPr>
            <p:spPr>
              <a:xfrm>
                <a:off x="944138" y="2972975"/>
                <a:ext cx="2266977" cy="1050288"/>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Tx/>
                  <a:buSzTx/>
                  <a:buFont typeface="Arial"/>
                  <a:buNone/>
                  <a:tabLst/>
                  <a:defRPr/>
                </a:pPr>
                <a:r>
                  <a:rPr kumimoji="0" lang="en-AU" sz="1100" b="0" i="0" u="none" strike="noStrike" kern="1200" cap="none" spc="0" normalizeH="0" baseline="0" noProof="0" dirty="0">
                    <a:ln>
                      <a:noFill/>
                    </a:ln>
                    <a:solidFill>
                      <a:srgbClr val="041E42"/>
                    </a:solidFill>
                    <a:effectLst/>
                    <a:uLnTx/>
                    <a:uFillTx/>
                    <a:latin typeface="Montserrat Medium"/>
                    <a:ea typeface="+mn-ea"/>
                  </a:rPr>
                  <a:t>Workforce to provide a </a:t>
                </a:r>
                <a:r>
                  <a:rPr kumimoji="0" lang="en-AU" sz="1100" b="1" i="0" u="none" strike="noStrike" kern="1200" cap="none" spc="0" normalizeH="0" baseline="0" noProof="0" dirty="0">
                    <a:ln>
                      <a:noFill/>
                    </a:ln>
                    <a:solidFill>
                      <a:srgbClr val="041E42"/>
                    </a:solidFill>
                    <a:effectLst/>
                    <a:uLnTx/>
                    <a:uFillTx/>
                    <a:latin typeface="Montserrat Medium"/>
                    <a:ea typeface="+mn-ea"/>
                  </a:rPr>
                  <a:t>mix of  general oversight and specialist services to support complex cases </a:t>
                </a:r>
                <a:r>
                  <a:rPr kumimoji="0" lang="en-AU" sz="1100" b="0" i="0" u="none" strike="noStrike" kern="1200" cap="none" spc="0" normalizeH="0" baseline="0" noProof="0" dirty="0">
                    <a:ln>
                      <a:noFill/>
                    </a:ln>
                    <a:solidFill>
                      <a:srgbClr val="041E42"/>
                    </a:solidFill>
                    <a:effectLst/>
                    <a:uLnTx/>
                    <a:uFillTx/>
                    <a:latin typeface="Montserrat Medium"/>
                    <a:ea typeface="+mn-ea"/>
                  </a:rPr>
                  <a:t>and improve positive behaviour support across schools</a:t>
                </a:r>
              </a:p>
            </p:txBody>
          </p:sp>
        </p:grpSp>
        <p:sp>
          <p:nvSpPr>
            <p:cNvPr id="72" name="Rectangle 71"/>
            <p:cNvSpPr/>
            <p:nvPr/>
          </p:nvSpPr>
          <p:spPr>
            <a:xfrm>
              <a:off x="207682" y="5237441"/>
              <a:ext cx="4271905" cy="214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19233E"/>
                  </a:solidFill>
                  <a:effectLst/>
                  <a:uLnTx/>
                  <a:uFillTx/>
                  <a:latin typeface="Montserrat SemiBold"/>
                  <a:ea typeface="+mn-ea"/>
                  <a:cs typeface="+mn-cs"/>
                </a:rPr>
                <a:t>Specialist services</a:t>
              </a:r>
            </a:p>
          </p:txBody>
        </p:sp>
        <p:cxnSp>
          <p:nvCxnSpPr>
            <p:cNvPr id="77" name="Straight Connector 76"/>
            <p:cNvCxnSpPr/>
            <p:nvPr/>
          </p:nvCxnSpPr>
          <p:spPr>
            <a:xfrm flipV="1">
              <a:off x="292100" y="5505051"/>
              <a:ext cx="1425575" cy="1"/>
            </a:xfrm>
            <a:prstGeom prst="line">
              <a:avLst/>
            </a:prstGeom>
            <a:ln w="28575"/>
          </p:spPr>
          <p:style>
            <a:lnRef idx="3">
              <a:schemeClr val="accent5"/>
            </a:lnRef>
            <a:fillRef idx="0">
              <a:schemeClr val="accent5"/>
            </a:fillRef>
            <a:effectRef idx="2">
              <a:schemeClr val="accent5"/>
            </a:effectRef>
            <a:fontRef idx="minor">
              <a:schemeClr val="tx1"/>
            </a:fontRef>
          </p:style>
        </p:cxnSp>
      </p:grpSp>
      <p:grpSp>
        <p:nvGrpSpPr>
          <p:cNvPr id="5" name="Group 4"/>
          <p:cNvGrpSpPr/>
          <p:nvPr/>
        </p:nvGrpSpPr>
        <p:grpSpPr>
          <a:xfrm>
            <a:off x="5959929" y="1420585"/>
            <a:ext cx="4210149" cy="1089116"/>
            <a:chOff x="5846306" y="1780494"/>
            <a:chExt cx="4210149" cy="1089116"/>
          </a:xfrm>
        </p:grpSpPr>
        <p:grpSp>
          <p:nvGrpSpPr>
            <p:cNvPr id="9" name="Group 8"/>
            <p:cNvGrpSpPr/>
            <p:nvPr/>
          </p:nvGrpSpPr>
          <p:grpSpPr>
            <a:xfrm>
              <a:off x="5885540" y="2022455"/>
              <a:ext cx="2971990" cy="847155"/>
              <a:chOff x="868838" y="4765015"/>
              <a:chExt cx="2131196" cy="847155"/>
            </a:xfrm>
          </p:grpSpPr>
          <p:sp>
            <p:nvSpPr>
              <p:cNvPr id="11" name="Shape 63936">
                <a:extLst>
                  <a:ext uri="{FF2B5EF4-FFF2-40B4-BE49-F238E27FC236}">
                    <a16:creationId xmlns:a16="http://schemas.microsoft.com/office/drawing/2014/main" id="{679C2E15-C79A-294D-BF38-DD1FF0AD15A7}"/>
                  </a:ext>
                </a:extLst>
              </p:cNvPr>
              <p:cNvSpPr/>
              <p:nvPr/>
            </p:nvSpPr>
            <p:spPr>
              <a:xfrm>
                <a:off x="868838" y="4966247"/>
                <a:ext cx="131894" cy="205355"/>
              </a:xfrm>
              <a:prstGeom prst="diamond">
                <a:avLst/>
              </a:prstGeom>
              <a:solidFill>
                <a:schemeClr val="accent4"/>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64" name="Subtitle 2">
                <a:extLst>
                  <a:ext uri="{FF2B5EF4-FFF2-40B4-BE49-F238E27FC236}">
                    <a16:creationId xmlns:a16="http://schemas.microsoft.com/office/drawing/2014/main" id="{B53296FC-68C2-6B42-8E65-391F5BC024DD}"/>
                  </a:ext>
                </a:extLst>
              </p:cNvPr>
              <p:cNvSpPr txBox="1">
                <a:spLocks/>
              </p:cNvSpPr>
              <p:nvPr/>
            </p:nvSpPr>
            <p:spPr>
              <a:xfrm>
                <a:off x="1056185" y="4765015"/>
                <a:ext cx="1943849" cy="847155"/>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Tx/>
                  <a:buSzTx/>
                  <a:buFont typeface="Arial"/>
                  <a:buNone/>
                  <a:tabLst/>
                  <a:defRPr/>
                </a:pPr>
                <a:r>
                  <a:rPr kumimoji="0" lang="en-AU" sz="1100" b="0" i="0" u="none" strike="noStrike" kern="1200" cap="none" spc="0" normalizeH="0" baseline="0" noProof="0" dirty="0">
                    <a:ln>
                      <a:noFill/>
                    </a:ln>
                    <a:solidFill>
                      <a:srgbClr val="041E42"/>
                    </a:solidFill>
                    <a:effectLst/>
                    <a:uLnTx/>
                    <a:uFillTx/>
                    <a:latin typeface="Montserrat Medium"/>
                    <a:ea typeface="+mn-ea"/>
                  </a:rPr>
                  <a:t>Project to provide </a:t>
                </a:r>
                <a:r>
                  <a:rPr kumimoji="0" lang="en-AU" sz="1100" b="1" i="0" u="none" strike="noStrike" kern="1200" cap="none" spc="0" normalizeH="0" baseline="0" noProof="0" dirty="0">
                    <a:ln>
                      <a:noFill/>
                    </a:ln>
                    <a:solidFill>
                      <a:srgbClr val="041E42"/>
                    </a:solidFill>
                    <a:effectLst/>
                    <a:uLnTx/>
                    <a:uFillTx/>
                    <a:latin typeface="Montserrat Medium"/>
                    <a:ea typeface="+mn-ea"/>
                  </a:rPr>
                  <a:t>a cadence of tailored support services aligned to user needs </a:t>
                </a:r>
                <a:r>
                  <a:rPr kumimoji="0" lang="en-AU" sz="1100" b="0" i="0" u="none" strike="noStrike" kern="1200" cap="none" spc="0" normalizeH="0" baseline="0" noProof="0" dirty="0">
                    <a:ln>
                      <a:noFill/>
                    </a:ln>
                    <a:solidFill>
                      <a:srgbClr val="041E42"/>
                    </a:solidFill>
                    <a:effectLst/>
                    <a:uLnTx/>
                    <a:uFillTx/>
                    <a:latin typeface="Montserrat Medium"/>
                    <a:ea typeface="+mn-ea"/>
                  </a:rPr>
                  <a:t>as well as increased access to resources and information.</a:t>
                </a:r>
              </a:p>
            </p:txBody>
          </p:sp>
        </p:grpSp>
        <p:sp>
          <p:nvSpPr>
            <p:cNvPr id="89" name="Rectangle 88"/>
            <p:cNvSpPr/>
            <p:nvPr/>
          </p:nvSpPr>
          <p:spPr>
            <a:xfrm>
              <a:off x="5846306" y="1780494"/>
              <a:ext cx="4210149" cy="148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19233E"/>
                  </a:solidFill>
                  <a:effectLst/>
                  <a:uLnTx/>
                  <a:uFillTx/>
                  <a:latin typeface="Montserrat SemiBold"/>
                  <a:ea typeface="+mn-ea"/>
                  <a:cs typeface="+mn-cs"/>
                </a:rPr>
                <a:t>Tailored support</a:t>
              </a:r>
            </a:p>
          </p:txBody>
        </p:sp>
        <p:cxnSp>
          <p:nvCxnSpPr>
            <p:cNvPr id="90" name="Straight Connector 89"/>
            <p:cNvCxnSpPr/>
            <p:nvPr/>
          </p:nvCxnSpPr>
          <p:spPr>
            <a:xfrm flipV="1">
              <a:off x="5955234" y="2008465"/>
              <a:ext cx="1370852" cy="1"/>
            </a:xfrm>
            <a:prstGeom prst="line">
              <a:avLst/>
            </a:prstGeom>
            <a:ln w="28575"/>
          </p:spPr>
          <p:style>
            <a:lnRef idx="3">
              <a:schemeClr val="accent5"/>
            </a:lnRef>
            <a:fillRef idx="0">
              <a:schemeClr val="accent5"/>
            </a:fillRef>
            <a:effectRef idx="2">
              <a:schemeClr val="accent5"/>
            </a:effectRef>
            <a:fontRef idx="minor">
              <a:schemeClr val="tx1"/>
            </a:fontRef>
          </p:style>
        </p:cxnSp>
      </p:grpSp>
      <p:grpSp>
        <p:nvGrpSpPr>
          <p:cNvPr id="17" name="Group 16"/>
          <p:cNvGrpSpPr/>
          <p:nvPr/>
        </p:nvGrpSpPr>
        <p:grpSpPr>
          <a:xfrm>
            <a:off x="5999163" y="2848596"/>
            <a:ext cx="3287487" cy="1563999"/>
            <a:chOff x="5916385" y="3080656"/>
            <a:chExt cx="3287487" cy="1563999"/>
          </a:xfrm>
        </p:grpSpPr>
        <p:grpSp>
          <p:nvGrpSpPr>
            <p:cNvPr id="12" name="Group 11"/>
            <p:cNvGrpSpPr/>
            <p:nvPr/>
          </p:nvGrpSpPr>
          <p:grpSpPr>
            <a:xfrm>
              <a:off x="5916385" y="3391235"/>
              <a:ext cx="2586834" cy="1253420"/>
              <a:chOff x="1968797" y="4119015"/>
              <a:chExt cx="2127115" cy="1253420"/>
            </a:xfrm>
          </p:grpSpPr>
          <p:sp>
            <p:nvSpPr>
              <p:cNvPr id="71" name="Shape 63931">
                <a:extLst>
                  <a:ext uri="{FF2B5EF4-FFF2-40B4-BE49-F238E27FC236}">
                    <a16:creationId xmlns:a16="http://schemas.microsoft.com/office/drawing/2014/main" id="{304FA028-13B5-AB4B-ABAE-48FC7096078F}"/>
                  </a:ext>
                </a:extLst>
              </p:cNvPr>
              <p:cNvSpPr/>
              <p:nvPr/>
            </p:nvSpPr>
            <p:spPr>
              <a:xfrm>
                <a:off x="1968797" y="4502380"/>
                <a:ext cx="175164" cy="206576"/>
              </a:xfrm>
              <a:prstGeom prst="diamond">
                <a:avLst/>
              </a:prstGeom>
              <a:solidFill>
                <a:schemeClr val="accent2"/>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76" name="Subtitle 2">
                <a:extLst>
                  <a:ext uri="{FF2B5EF4-FFF2-40B4-BE49-F238E27FC236}">
                    <a16:creationId xmlns:a16="http://schemas.microsoft.com/office/drawing/2014/main" id="{12FF079E-996F-7C47-9EAA-91B15AB58D79}"/>
                  </a:ext>
                </a:extLst>
              </p:cNvPr>
              <p:cNvSpPr txBox="1">
                <a:spLocks/>
              </p:cNvSpPr>
              <p:nvPr/>
            </p:nvSpPr>
            <p:spPr>
              <a:xfrm>
                <a:off x="2277523" y="4119015"/>
                <a:ext cx="1818389" cy="1253420"/>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Tx/>
                  <a:buSzTx/>
                  <a:buFont typeface="Arial"/>
                  <a:buNone/>
                  <a:tabLst/>
                  <a:defRPr/>
                </a:pPr>
                <a:r>
                  <a:rPr kumimoji="0" lang="en-AU" sz="1100" b="0" i="0" u="none" strike="noStrike" kern="1200" cap="none" spc="0" normalizeH="0" baseline="0" noProof="0" dirty="0">
                    <a:ln>
                      <a:noFill/>
                    </a:ln>
                    <a:solidFill>
                      <a:srgbClr val="041E42"/>
                    </a:solidFill>
                    <a:effectLst/>
                    <a:uLnTx/>
                    <a:uFillTx/>
                    <a:latin typeface="Montserrat Medium"/>
                    <a:ea typeface="+mn-ea"/>
                  </a:rPr>
                  <a:t>Workforce, school staff and specialists to receive </a:t>
                </a:r>
                <a:r>
                  <a:rPr kumimoji="0" lang="en-AU" sz="1100" b="1" i="0" u="none" strike="noStrike" kern="1200" cap="none" spc="0" normalizeH="0" baseline="0" noProof="0" dirty="0">
                    <a:ln>
                      <a:noFill/>
                    </a:ln>
                    <a:solidFill>
                      <a:srgbClr val="041E42"/>
                    </a:solidFill>
                    <a:effectLst/>
                    <a:uLnTx/>
                    <a:uFillTx/>
                    <a:latin typeface="Montserrat Medium"/>
                    <a:ea typeface="+mn-ea"/>
                  </a:rPr>
                  <a:t>best practice mentoring and  professional learning and their capabilities built to bench-marked levels.</a:t>
                </a:r>
              </a:p>
            </p:txBody>
          </p:sp>
        </p:grpSp>
        <p:cxnSp>
          <p:nvCxnSpPr>
            <p:cNvPr id="92" name="Straight Connector 91"/>
            <p:cNvCxnSpPr/>
            <p:nvPr/>
          </p:nvCxnSpPr>
          <p:spPr>
            <a:xfrm flipV="1">
              <a:off x="5984678" y="3321974"/>
              <a:ext cx="2714563" cy="9125"/>
            </a:xfrm>
            <a:prstGeom prst="line">
              <a:avLst/>
            </a:prstGeom>
            <a:ln w="28575"/>
          </p:spPr>
          <p:style>
            <a:lnRef idx="3">
              <a:schemeClr val="accent5"/>
            </a:lnRef>
            <a:fillRef idx="0">
              <a:schemeClr val="accent5"/>
            </a:fillRef>
            <a:effectRef idx="2">
              <a:schemeClr val="accent5"/>
            </a:effectRef>
            <a:fontRef idx="minor">
              <a:schemeClr val="tx1"/>
            </a:fontRef>
          </p:style>
        </p:cxnSp>
        <p:sp>
          <p:nvSpPr>
            <p:cNvPr id="93" name="Rectangle 92"/>
            <p:cNvSpPr/>
            <p:nvPr/>
          </p:nvSpPr>
          <p:spPr>
            <a:xfrm>
              <a:off x="5916385" y="3080656"/>
              <a:ext cx="3287487" cy="266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19233E"/>
                  </a:solidFill>
                  <a:effectLst/>
                  <a:uLnTx/>
                  <a:uFillTx/>
                  <a:latin typeface="Montserrat SemiBold"/>
                  <a:ea typeface="+mn-ea"/>
                  <a:cs typeface="+mn-cs"/>
                </a:rPr>
                <a:t>Best practice PL &amp; mentorships</a:t>
              </a:r>
            </a:p>
          </p:txBody>
        </p:sp>
      </p:grpSp>
      <p:grpSp>
        <p:nvGrpSpPr>
          <p:cNvPr id="20" name="Group 19"/>
          <p:cNvGrpSpPr/>
          <p:nvPr/>
        </p:nvGrpSpPr>
        <p:grpSpPr>
          <a:xfrm>
            <a:off x="6112329" y="4746171"/>
            <a:ext cx="4140856" cy="1950570"/>
            <a:chOff x="5903423" y="4771639"/>
            <a:chExt cx="4140856" cy="1950570"/>
          </a:xfrm>
        </p:grpSpPr>
        <p:grpSp>
          <p:nvGrpSpPr>
            <p:cNvPr id="10" name="Group 9"/>
            <p:cNvGrpSpPr/>
            <p:nvPr/>
          </p:nvGrpSpPr>
          <p:grpSpPr>
            <a:xfrm>
              <a:off x="5943161" y="5062524"/>
              <a:ext cx="2515165" cy="1659685"/>
              <a:chOff x="193235" y="2653396"/>
              <a:chExt cx="2920077" cy="1659685"/>
            </a:xfrm>
          </p:grpSpPr>
          <p:sp>
            <p:nvSpPr>
              <p:cNvPr id="70" name="Shape 63926">
                <a:extLst>
                  <a:ext uri="{FF2B5EF4-FFF2-40B4-BE49-F238E27FC236}">
                    <a16:creationId xmlns:a16="http://schemas.microsoft.com/office/drawing/2014/main" id="{BB4B831F-3920-BE43-A3C6-FC58583EEFD9}"/>
                  </a:ext>
                </a:extLst>
              </p:cNvPr>
              <p:cNvSpPr/>
              <p:nvPr/>
            </p:nvSpPr>
            <p:spPr>
              <a:xfrm>
                <a:off x="193235" y="3119745"/>
                <a:ext cx="213859" cy="213859"/>
              </a:xfrm>
              <a:prstGeom prst="diamond">
                <a:avLst/>
              </a:prstGeom>
              <a:solidFill>
                <a:schemeClr val="accent1">
                  <a:lumMod val="90000"/>
                  <a:lumOff val="10000"/>
                </a:schemeClr>
              </a:solidFill>
              <a:ln w="12700" cap="flat">
                <a:noFill/>
                <a:miter lim="400000"/>
              </a:ln>
              <a:effectLst/>
            </p:spPr>
            <p:txBody>
              <a:bodyPr wrap="square" lIns="0" tIns="0" rIns="0" bIns="0" numCol="1" anchor="t">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dirty="0">
                  <a:ln>
                    <a:noFill/>
                  </a:ln>
                  <a:solidFill>
                    <a:srgbClr val="000000"/>
                  </a:solidFill>
                  <a:effectLst/>
                  <a:uLnTx/>
                  <a:uFillTx/>
                  <a:latin typeface="Lato Light" panose="020F0502020204030203" pitchFamily="34" charset="0"/>
                  <a:ea typeface="+mn-ea"/>
                  <a:cs typeface="+mn-cs"/>
                </a:endParaRPr>
              </a:p>
            </p:txBody>
          </p:sp>
          <p:sp>
            <p:nvSpPr>
              <p:cNvPr id="74" name="Subtitle 2">
                <a:extLst>
                  <a:ext uri="{FF2B5EF4-FFF2-40B4-BE49-F238E27FC236}">
                    <a16:creationId xmlns:a16="http://schemas.microsoft.com/office/drawing/2014/main" id="{537A5283-53E8-DF46-B934-88EFD35B0252}"/>
                  </a:ext>
                </a:extLst>
              </p:cNvPr>
              <p:cNvSpPr txBox="1">
                <a:spLocks/>
              </p:cNvSpPr>
              <p:nvPr/>
            </p:nvSpPr>
            <p:spPr>
              <a:xfrm>
                <a:off x="562315" y="2653396"/>
                <a:ext cx="2550997" cy="1659685"/>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Tx/>
                  <a:buSzTx/>
                  <a:buFont typeface="Arial"/>
                  <a:buNone/>
                  <a:tabLst/>
                  <a:defRPr/>
                </a:pPr>
                <a:r>
                  <a:rPr kumimoji="0" lang="en-AU" sz="1100" b="0" i="0" u="none" strike="noStrike" kern="1200" cap="none" spc="0" normalizeH="0" baseline="0" noProof="0" dirty="0">
                    <a:ln>
                      <a:noFill/>
                    </a:ln>
                    <a:solidFill>
                      <a:srgbClr val="041E42"/>
                    </a:solidFill>
                    <a:effectLst/>
                    <a:uLnTx/>
                    <a:uFillTx/>
                    <a:latin typeface="Montserrat Medium"/>
                    <a:ea typeface="+mn-ea"/>
                  </a:rPr>
                  <a:t>The package to provide </a:t>
                </a:r>
                <a:r>
                  <a:rPr kumimoji="0" lang="en-AU" sz="1100" b="1" i="0" u="none" strike="noStrike" kern="1200" cap="none" spc="0" normalizeH="0" baseline="0" noProof="0" dirty="0">
                    <a:ln>
                      <a:noFill/>
                    </a:ln>
                    <a:solidFill>
                      <a:srgbClr val="041E42"/>
                    </a:solidFill>
                    <a:effectLst/>
                    <a:uLnTx/>
                    <a:uFillTx/>
                    <a:latin typeface="Montserrat Medium"/>
                    <a:ea typeface="+mn-ea"/>
                  </a:rPr>
                  <a:t>proactive coordination and integration of  behavioural support services, </a:t>
                </a:r>
                <a:r>
                  <a:rPr kumimoji="0" lang="en-AU" sz="1100" b="0" i="0" u="none" strike="noStrike" kern="1200" cap="none" spc="0" normalizeH="0" baseline="0" noProof="0" dirty="0">
                    <a:ln>
                      <a:noFill/>
                    </a:ln>
                    <a:solidFill>
                      <a:srgbClr val="041E42"/>
                    </a:solidFill>
                    <a:effectLst/>
                    <a:uLnTx/>
                    <a:uFillTx/>
                    <a:latin typeface="Montserrat Medium"/>
                    <a:ea typeface="+mn-ea"/>
                  </a:rPr>
                  <a:t>including access to inter-Agency staff for a multi-disciplinary response to complex scenarios</a:t>
                </a:r>
              </a:p>
            </p:txBody>
          </p:sp>
        </p:grpSp>
        <p:sp>
          <p:nvSpPr>
            <p:cNvPr id="91" name="Rectangle 90"/>
            <p:cNvSpPr/>
            <p:nvPr/>
          </p:nvSpPr>
          <p:spPr>
            <a:xfrm>
              <a:off x="5903423" y="4771639"/>
              <a:ext cx="4140856" cy="1922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19233E"/>
                  </a:solidFill>
                  <a:effectLst/>
                  <a:uLnTx/>
                  <a:uFillTx/>
                  <a:latin typeface="Montserrat SemiBold"/>
                  <a:ea typeface="+mn-ea"/>
                  <a:cs typeface="+mn-cs"/>
                </a:rPr>
                <a:t>Inter-Agency partnerships</a:t>
              </a:r>
            </a:p>
          </p:txBody>
        </p:sp>
        <p:cxnSp>
          <p:nvCxnSpPr>
            <p:cNvPr id="94" name="Straight Connector 93"/>
            <p:cNvCxnSpPr/>
            <p:nvPr/>
          </p:nvCxnSpPr>
          <p:spPr>
            <a:xfrm flipV="1">
              <a:off x="6030598" y="5017041"/>
              <a:ext cx="2106927" cy="1"/>
            </a:xfrm>
            <a:prstGeom prst="line">
              <a:avLst/>
            </a:prstGeom>
            <a:ln w="28575"/>
          </p:spPr>
          <p:style>
            <a:lnRef idx="3">
              <a:schemeClr val="accent5"/>
            </a:lnRef>
            <a:fillRef idx="0">
              <a:schemeClr val="accent5"/>
            </a:fillRef>
            <a:effectRef idx="2">
              <a:schemeClr val="accent5"/>
            </a:effectRef>
            <a:fontRef idx="minor">
              <a:schemeClr val="tx1"/>
            </a:fontRef>
          </p:style>
        </p:cxnSp>
      </p:grpSp>
      <p:sp>
        <p:nvSpPr>
          <p:cNvPr id="3" name="Title 2"/>
          <p:cNvSpPr>
            <a:spLocks noGrp="1"/>
          </p:cNvSpPr>
          <p:nvPr>
            <p:ph type="title"/>
          </p:nvPr>
        </p:nvSpPr>
        <p:spPr>
          <a:xfrm>
            <a:off x="260569" y="631545"/>
            <a:ext cx="8623051" cy="498470"/>
          </a:xfrm>
        </p:spPr>
        <p:txBody>
          <a:bodyPr/>
          <a:lstStyle/>
          <a:p>
            <a:r>
              <a:rPr lang="en-AU" sz="2000" dirty="0"/>
              <a:t>An integrated package of support for schools</a:t>
            </a:r>
          </a:p>
        </p:txBody>
      </p:sp>
      <p:sp>
        <p:nvSpPr>
          <p:cNvPr id="69" name="Rectangle 68"/>
          <p:cNvSpPr/>
          <p:nvPr/>
        </p:nvSpPr>
        <p:spPr>
          <a:xfrm>
            <a:off x="8317661" y="105951"/>
            <a:ext cx="722376" cy="2651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FFFFFF"/>
                </a:solidFill>
                <a:effectLst/>
                <a:uLnTx/>
                <a:uFillTx/>
                <a:latin typeface="Montserrat Medium"/>
                <a:ea typeface="+mn-ea"/>
                <a:cs typeface="+mn-cs"/>
              </a:rPr>
              <a:t>DRAFT</a:t>
            </a:r>
          </a:p>
        </p:txBody>
      </p:sp>
    </p:spTree>
    <p:extLst>
      <p:ext uri="{BB962C8B-B14F-4D97-AF65-F5344CB8AC3E}">
        <p14:creationId xmlns:p14="http://schemas.microsoft.com/office/powerpoint/2010/main" val="288858841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284150" y="1286888"/>
            <a:ext cx="8859850" cy="419659"/>
          </a:xfrm>
        </p:spPr>
        <p:txBody>
          <a:bodyPr/>
          <a:lstStyle/>
          <a:p>
            <a:pPr>
              <a:lnSpc>
                <a:spcPct val="100000"/>
              </a:lnSpc>
              <a:spcAft>
                <a:spcPts val="0"/>
              </a:spcAft>
            </a:pPr>
            <a:r>
              <a:rPr lang="en-AU" sz="1600" dirty="0"/>
              <a:t>Behaviour Specialists will be flexibly located to provide inclusive support to schools </a:t>
            </a:r>
          </a:p>
        </p:txBody>
      </p:sp>
      <p:sp>
        <p:nvSpPr>
          <p:cNvPr id="4" name="Title 3"/>
          <p:cNvSpPr>
            <a:spLocks noGrp="1"/>
          </p:cNvSpPr>
          <p:nvPr>
            <p:ph type="title"/>
          </p:nvPr>
        </p:nvSpPr>
        <p:spPr>
          <a:xfrm>
            <a:off x="232286" y="680752"/>
            <a:ext cx="8623051" cy="498470"/>
          </a:xfrm>
        </p:spPr>
        <p:txBody>
          <a:bodyPr/>
          <a:lstStyle/>
          <a:p>
            <a:r>
              <a:rPr lang="en-AU" sz="2000" dirty="0"/>
              <a:t>The Behaviour Specialist positions</a:t>
            </a:r>
          </a:p>
        </p:txBody>
      </p:sp>
      <p:sp>
        <p:nvSpPr>
          <p:cNvPr id="6" name="Rectangle 5">
            <a:extLst>
              <a:ext uri="{FF2B5EF4-FFF2-40B4-BE49-F238E27FC236}">
                <a16:creationId xmlns:a16="http://schemas.microsoft.com/office/drawing/2014/main" id="{AEA488A3-06FF-A44C-A9CC-E2A3F36B9E92}"/>
              </a:ext>
            </a:extLst>
          </p:cNvPr>
          <p:cNvSpPr/>
          <p:nvPr/>
        </p:nvSpPr>
        <p:spPr>
          <a:xfrm>
            <a:off x="3328869" y="1976256"/>
            <a:ext cx="2483532" cy="1718064"/>
          </a:xfrm>
          <a:prstGeom prst="rect">
            <a:avLst/>
          </a:prstGeom>
          <a:solidFill>
            <a:schemeClr val="bg2">
              <a:lumMod val="75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3"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Roboto Light" panose="02000000000000000000" pitchFamily="2" charset="0"/>
              <a:ea typeface="+mn-ea"/>
              <a:cs typeface="+mn-cs"/>
            </a:endParaRPr>
          </a:p>
        </p:txBody>
      </p:sp>
      <p:sp>
        <p:nvSpPr>
          <p:cNvPr id="7" name="Rectangle 6">
            <a:extLst>
              <a:ext uri="{FF2B5EF4-FFF2-40B4-BE49-F238E27FC236}">
                <a16:creationId xmlns:a16="http://schemas.microsoft.com/office/drawing/2014/main" id="{D0DDC3A8-5CB0-8F47-ACB8-4F9BA922B1B3}"/>
              </a:ext>
            </a:extLst>
          </p:cNvPr>
          <p:cNvSpPr/>
          <p:nvPr/>
        </p:nvSpPr>
        <p:spPr>
          <a:xfrm>
            <a:off x="580413" y="4008042"/>
            <a:ext cx="2483532" cy="1718064"/>
          </a:xfrm>
          <a:prstGeom prst="rect">
            <a:avLst/>
          </a:prstGeom>
          <a:solidFill>
            <a:schemeClr val="bg2">
              <a:lumMod val="75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3"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Roboto Light" panose="02000000000000000000" pitchFamily="2" charset="0"/>
              <a:ea typeface="+mn-ea"/>
              <a:cs typeface="+mn-cs"/>
            </a:endParaRPr>
          </a:p>
        </p:txBody>
      </p:sp>
      <p:sp>
        <p:nvSpPr>
          <p:cNvPr id="8" name="Rectangle 7">
            <a:extLst>
              <a:ext uri="{FF2B5EF4-FFF2-40B4-BE49-F238E27FC236}">
                <a16:creationId xmlns:a16="http://schemas.microsoft.com/office/drawing/2014/main" id="{DEE97F36-873B-3F4D-8228-3D025443AE09}"/>
              </a:ext>
            </a:extLst>
          </p:cNvPr>
          <p:cNvSpPr/>
          <p:nvPr/>
        </p:nvSpPr>
        <p:spPr>
          <a:xfrm>
            <a:off x="566013" y="2013042"/>
            <a:ext cx="2483532" cy="1718064"/>
          </a:xfrm>
          <a:prstGeom prst="rect">
            <a:avLst/>
          </a:prstGeom>
          <a:solidFill>
            <a:schemeClr val="bg2">
              <a:lumMod val="5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3"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Roboto Light" panose="02000000000000000000" pitchFamily="2" charset="0"/>
              <a:ea typeface="+mn-ea"/>
              <a:cs typeface="+mn-cs"/>
            </a:endParaRPr>
          </a:p>
        </p:txBody>
      </p:sp>
      <p:sp>
        <p:nvSpPr>
          <p:cNvPr id="9" name="Rectangle 8">
            <a:extLst>
              <a:ext uri="{FF2B5EF4-FFF2-40B4-BE49-F238E27FC236}">
                <a16:creationId xmlns:a16="http://schemas.microsoft.com/office/drawing/2014/main" id="{2A996DC2-60E0-704A-977E-B39FAC1AA130}"/>
              </a:ext>
            </a:extLst>
          </p:cNvPr>
          <p:cNvSpPr/>
          <p:nvPr/>
        </p:nvSpPr>
        <p:spPr>
          <a:xfrm>
            <a:off x="3330234" y="3997532"/>
            <a:ext cx="2483532" cy="1718064"/>
          </a:xfrm>
          <a:prstGeom prst="rect">
            <a:avLst/>
          </a:prstGeom>
          <a:solidFill>
            <a:schemeClr val="bg2">
              <a:lumMod val="5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3"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Roboto Light" panose="02000000000000000000" pitchFamily="2" charset="0"/>
              <a:ea typeface="+mn-ea"/>
              <a:cs typeface="+mn-cs"/>
            </a:endParaRPr>
          </a:p>
        </p:txBody>
      </p:sp>
      <p:sp>
        <p:nvSpPr>
          <p:cNvPr id="10" name="Rectangle 9">
            <a:extLst>
              <a:ext uri="{FF2B5EF4-FFF2-40B4-BE49-F238E27FC236}">
                <a16:creationId xmlns:a16="http://schemas.microsoft.com/office/drawing/2014/main" id="{C8295544-C43C-2748-B956-9EA0FC994A2E}"/>
              </a:ext>
            </a:extLst>
          </p:cNvPr>
          <p:cNvSpPr/>
          <p:nvPr/>
        </p:nvSpPr>
        <p:spPr>
          <a:xfrm>
            <a:off x="6090010" y="2013042"/>
            <a:ext cx="2483532" cy="1718064"/>
          </a:xfrm>
          <a:prstGeom prst="rect">
            <a:avLst/>
          </a:prstGeom>
          <a:solidFill>
            <a:schemeClr val="bg2">
              <a:lumMod val="5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3"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Roboto Light" panose="02000000000000000000" pitchFamily="2" charset="0"/>
              <a:ea typeface="+mn-ea"/>
              <a:cs typeface="+mn-cs"/>
            </a:endParaRPr>
          </a:p>
        </p:txBody>
      </p:sp>
      <p:sp>
        <p:nvSpPr>
          <p:cNvPr id="11" name="Rectangle 10">
            <a:extLst>
              <a:ext uri="{FF2B5EF4-FFF2-40B4-BE49-F238E27FC236}">
                <a16:creationId xmlns:a16="http://schemas.microsoft.com/office/drawing/2014/main" id="{EEA53924-ECBA-B148-A0EB-476F3371CF1A}"/>
              </a:ext>
            </a:extLst>
          </p:cNvPr>
          <p:cNvSpPr/>
          <p:nvPr/>
        </p:nvSpPr>
        <p:spPr>
          <a:xfrm>
            <a:off x="6090010" y="3997532"/>
            <a:ext cx="2483532" cy="1731756"/>
          </a:xfrm>
          <a:prstGeom prst="rect">
            <a:avLst/>
          </a:prstGeom>
          <a:solidFill>
            <a:schemeClr val="bg2">
              <a:lumMod val="75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3"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Roboto Light" panose="02000000000000000000" pitchFamily="2" charset="0"/>
              <a:ea typeface="+mn-ea"/>
              <a:cs typeface="+mn-cs"/>
            </a:endParaRPr>
          </a:p>
        </p:txBody>
      </p:sp>
      <p:sp>
        <p:nvSpPr>
          <p:cNvPr id="18" name="TextBox 17">
            <a:extLst>
              <a:ext uri="{FF2B5EF4-FFF2-40B4-BE49-F238E27FC236}">
                <a16:creationId xmlns:a16="http://schemas.microsoft.com/office/drawing/2014/main" id="{72E5629F-B88B-4844-8F15-A1E5535C1C85}"/>
              </a:ext>
            </a:extLst>
          </p:cNvPr>
          <p:cNvSpPr txBox="1"/>
          <p:nvPr/>
        </p:nvSpPr>
        <p:spPr>
          <a:xfrm>
            <a:off x="3310759" y="1957711"/>
            <a:ext cx="2538248" cy="430887"/>
          </a:xfrm>
          <a:prstGeom prst="rect">
            <a:avLst/>
          </a:prstGeom>
          <a:noFill/>
        </p:spPr>
        <p:txBody>
          <a:bodyPr wrap="squar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Montserrat SemiBold"/>
                <a:ea typeface="League Spartan" charset="0"/>
                <a:cs typeface="Poppins" pitchFamily="2" charset="77"/>
              </a:rPr>
              <a:t>ACCREDITATION &amp; FURTHER STUDY </a:t>
            </a:r>
            <a:r>
              <a:rPr kumimoji="0" lang="en-US" sz="1100" b="1" i="0" u="none" strike="noStrike" kern="1200" cap="none" spc="0" normalizeH="0" baseline="0" noProof="0" dirty="0">
                <a:ln>
                  <a:noFill/>
                </a:ln>
                <a:solidFill>
                  <a:srgbClr val="FF0000"/>
                </a:solidFill>
                <a:effectLst/>
                <a:uLnTx/>
                <a:uFillTx/>
                <a:latin typeface="Montserrat SemiBold"/>
                <a:ea typeface="League Spartan" charset="0"/>
                <a:cs typeface="Poppins" pitchFamily="2" charset="77"/>
              </a:rPr>
              <a:t>02</a:t>
            </a:r>
          </a:p>
        </p:txBody>
      </p:sp>
      <p:sp>
        <p:nvSpPr>
          <p:cNvPr id="19" name="TextBox 18">
            <a:extLst>
              <a:ext uri="{FF2B5EF4-FFF2-40B4-BE49-F238E27FC236}">
                <a16:creationId xmlns:a16="http://schemas.microsoft.com/office/drawing/2014/main" id="{C360A542-35EB-104E-B255-ED98099E1570}"/>
              </a:ext>
            </a:extLst>
          </p:cNvPr>
          <p:cNvSpPr txBox="1"/>
          <p:nvPr/>
        </p:nvSpPr>
        <p:spPr>
          <a:xfrm>
            <a:off x="551792" y="1997327"/>
            <a:ext cx="2517228" cy="430887"/>
          </a:xfrm>
          <a:prstGeom prst="rect">
            <a:avLst/>
          </a:prstGeom>
          <a:noFill/>
        </p:spPr>
        <p:txBody>
          <a:bodyPr wrap="squar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Montserrat SemiBold"/>
                <a:ea typeface="League Spartan" charset="0"/>
                <a:cs typeface="Poppins" pitchFamily="2" charset="77"/>
              </a:rPr>
              <a:t>TOP QUALIFICATIONS &amp; BEHAVIOUR SPECIALISATION </a:t>
            </a:r>
            <a:r>
              <a:rPr kumimoji="0" lang="en-US" sz="1100" b="1" i="0" u="none" strike="noStrike" kern="1200" cap="none" spc="0" normalizeH="0" baseline="0" noProof="0" dirty="0">
                <a:ln>
                  <a:noFill/>
                </a:ln>
                <a:solidFill>
                  <a:srgbClr val="FF0000"/>
                </a:solidFill>
                <a:effectLst/>
                <a:uLnTx/>
                <a:uFillTx/>
                <a:latin typeface="Montserrat SemiBold"/>
                <a:ea typeface="League Spartan" charset="0"/>
                <a:cs typeface="Poppins" pitchFamily="2" charset="77"/>
              </a:rPr>
              <a:t>01</a:t>
            </a:r>
          </a:p>
        </p:txBody>
      </p:sp>
      <p:sp>
        <p:nvSpPr>
          <p:cNvPr id="20" name="TextBox 19">
            <a:extLst>
              <a:ext uri="{FF2B5EF4-FFF2-40B4-BE49-F238E27FC236}">
                <a16:creationId xmlns:a16="http://schemas.microsoft.com/office/drawing/2014/main" id="{8050B65A-9D9F-5542-B7C5-8886D899D595}"/>
              </a:ext>
            </a:extLst>
          </p:cNvPr>
          <p:cNvSpPr txBox="1"/>
          <p:nvPr/>
        </p:nvSpPr>
        <p:spPr>
          <a:xfrm>
            <a:off x="5901558" y="2017749"/>
            <a:ext cx="2801007" cy="600164"/>
          </a:xfrm>
          <a:prstGeom prst="rect">
            <a:avLst/>
          </a:prstGeom>
          <a:noFill/>
        </p:spPr>
        <p:txBody>
          <a:bodyPr wrap="squar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Montserrat SemiBold"/>
                <a:ea typeface="League Spartan" charset="0"/>
                <a:cs typeface="Poppins" pitchFamily="2" charset="77"/>
              </a:rPr>
              <a:t>PLANNING, IMPLEMENTATION &amp; MONITORING OF BEHAVIOUR INTERVENTIONS </a:t>
            </a:r>
            <a:r>
              <a:rPr kumimoji="0" lang="en-US" sz="1100" b="1" i="0" u="none" strike="noStrike" kern="1200" cap="none" spc="0" normalizeH="0" baseline="0" noProof="0" dirty="0">
                <a:ln>
                  <a:noFill/>
                </a:ln>
                <a:solidFill>
                  <a:srgbClr val="FF0000"/>
                </a:solidFill>
                <a:effectLst/>
                <a:uLnTx/>
                <a:uFillTx/>
                <a:latin typeface="Montserrat SemiBold"/>
                <a:ea typeface="League Spartan" charset="0"/>
                <a:cs typeface="Poppins" pitchFamily="2" charset="77"/>
              </a:rPr>
              <a:t>03</a:t>
            </a:r>
          </a:p>
        </p:txBody>
      </p:sp>
      <p:sp>
        <p:nvSpPr>
          <p:cNvPr id="21" name="TextBox 20">
            <a:extLst>
              <a:ext uri="{FF2B5EF4-FFF2-40B4-BE49-F238E27FC236}">
                <a16:creationId xmlns:a16="http://schemas.microsoft.com/office/drawing/2014/main" id="{290F0CBE-7092-3F4E-B575-99A08B77B784}"/>
              </a:ext>
            </a:extLst>
          </p:cNvPr>
          <p:cNvSpPr txBox="1"/>
          <p:nvPr/>
        </p:nvSpPr>
        <p:spPr>
          <a:xfrm>
            <a:off x="651820" y="3993728"/>
            <a:ext cx="2349061" cy="430887"/>
          </a:xfrm>
          <a:prstGeom prst="rect">
            <a:avLst/>
          </a:prstGeom>
          <a:noFill/>
        </p:spPr>
        <p:txBody>
          <a:bodyPr wrap="squar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Montserrat Medium"/>
                <a:ea typeface="League Spartan" charset="0"/>
                <a:cs typeface="Poppins" pitchFamily="2" charset="77"/>
              </a:rPr>
              <a:t>BROAD BASED SPECIALIST ADVICE  </a:t>
            </a:r>
            <a:r>
              <a:rPr kumimoji="0" lang="en-US" sz="1100" b="1" i="0" u="none" strike="noStrike" kern="1200" cap="none" spc="0" normalizeH="0" baseline="0" noProof="0" dirty="0">
                <a:ln>
                  <a:noFill/>
                </a:ln>
                <a:solidFill>
                  <a:srgbClr val="FF0000"/>
                </a:solidFill>
                <a:effectLst/>
                <a:uLnTx/>
                <a:uFillTx/>
                <a:latin typeface="Montserrat Medium"/>
                <a:ea typeface="League Spartan" charset="0"/>
                <a:cs typeface="Poppins" pitchFamily="2" charset="77"/>
              </a:rPr>
              <a:t>04</a:t>
            </a:r>
          </a:p>
        </p:txBody>
      </p:sp>
      <p:sp>
        <p:nvSpPr>
          <p:cNvPr id="24" name="Subtitle 2">
            <a:extLst>
              <a:ext uri="{FF2B5EF4-FFF2-40B4-BE49-F238E27FC236}">
                <a16:creationId xmlns:a16="http://schemas.microsoft.com/office/drawing/2014/main" id="{E35F4092-93D7-0540-A87F-EBEC777A2669}"/>
              </a:ext>
            </a:extLst>
          </p:cNvPr>
          <p:cNvSpPr txBox="1">
            <a:spLocks/>
          </p:cNvSpPr>
          <p:nvPr/>
        </p:nvSpPr>
        <p:spPr>
          <a:xfrm>
            <a:off x="3441541" y="2638396"/>
            <a:ext cx="2307021"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407972" rtl="0" eaLnBrk="1" fontAlgn="auto" latinLnBrk="0" hangingPunct="1">
              <a:lnSpc>
                <a:spcPct val="100000"/>
              </a:lnSpc>
              <a:spcBef>
                <a:spcPts val="0"/>
              </a:spcBef>
              <a:spcAft>
                <a:spcPts val="0"/>
              </a:spcAft>
              <a:buClrTx/>
              <a:buSzTx/>
              <a:buFont typeface="Arial"/>
              <a:buNone/>
              <a:tabLst/>
              <a:defRPr/>
            </a:pPr>
            <a:r>
              <a:rPr kumimoji="0" lang="en-AU" sz="1000" b="0" i="0" u="none" strike="noStrike" kern="1200" cap="none" spc="0" normalizeH="0" baseline="0" noProof="0" dirty="0">
                <a:ln>
                  <a:noFill/>
                </a:ln>
                <a:solidFill>
                  <a:schemeClr val="tx1"/>
                </a:solidFill>
                <a:effectLst/>
                <a:uLnTx/>
                <a:uFillTx/>
                <a:latin typeface="Montserrat Medium"/>
                <a:ea typeface="Open Sans Light" panose="020B0306030504020204" pitchFamily="34" charset="0"/>
                <a:cs typeface="Mukta ExtraLight" panose="020B0000000000000000" pitchFamily="34" charset="77"/>
              </a:rPr>
              <a:t>They will be committed to  participating in and managing accreditation processes as well as further studies and/or trainings related to complex behaviour specialisation. </a:t>
            </a:r>
          </a:p>
        </p:txBody>
      </p:sp>
      <p:sp>
        <p:nvSpPr>
          <p:cNvPr id="25" name="Subtitle 2">
            <a:extLst>
              <a:ext uri="{FF2B5EF4-FFF2-40B4-BE49-F238E27FC236}">
                <a16:creationId xmlns:a16="http://schemas.microsoft.com/office/drawing/2014/main" id="{2F322C71-4AEC-4D4B-870D-1F2E1D351531}"/>
              </a:ext>
            </a:extLst>
          </p:cNvPr>
          <p:cNvSpPr txBox="1">
            <a:spLocks/>
          </p:cNvSpPr>
          <p:nvPr/>
        </p:nvSpPr>
        <p:spPr>
          <a:xfrm>
            <a:off x="583324" y="2490952"/>
            <a:ext cx="2454167" cy="1419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407972" rtl="0" eaLnBrk="1" fontAlgn="auto" latinLnBrk="0" hangingPunct="1">
              <a:lnSpc>
                <a:spcPct val="100000"/>
              </a:lnSpc>
              <a:spcBef>
                <a:spcPts val="0"/>
              </a:spcBef>
              <a:spcAft>
                <a:spcPts val="0"/>
              </a:spcAft>
              <a:buClrTx/>
              <a:buSzTx/>
              <a:buFont typeface="Arial"/>
              <a:buNone/>
              <a:tabLst/>
              <a:defRPr/>
            </a:pPr>
            <a:r>
              <a:rPr kumimoji="0" lang="en-AU" sz="1000" b="0" i="0" u="none" strike="noStrike" kern="1200" cap="none" spc="0" normalizeH="0" baseline="0" noProof="0" dirty="0">
                <a:ln>
                  <a:noFill/>
                </a:ln>
                <a:solidFill>
                  <a:schemeClr val="tx1"/>
                </a:solidFill>
                <a:effectLst/>
                <a:uLnTx/>
                <a:uFillTx/>
                <a:latin typeface="Montserrat Medium"/>
                <a:ea typeface="Open Sans Light" panose="020B0306030504020204" pitchFamily="34" charset="0"/>
                <a:cs typeface="Mukta ExtraLight" panose="020B0000000000000000" pitchFamily="34" charset="77"/>
              </a:rPr>
              <a:t>SEO 1 &amp; 2 to possess teaching qualifications, behaviour qualifications and/or complex behaviour specialisation, and recent school-based experience within the K-12 range. They will be trained in PAX Good Behaviour Game. </a:t>
            </a:r>
          </a:p>
          <a:p>
            <a:pPr marL="0" marR="0" lvl="0" indent="0" algn="ctr" defTabSz="407972" rtl="0" eaLnBrk="1" fontAlgn="auto" latinLnBrk="0" hangingPunct="1">
              <a:lnSpc>
                <a:spcPct val="100000"/>
              </a:lnSpc>
              <a:spcBef>
                <a:spcPts val="0"/>
              </a:spcBef>
              <a:spcAft>
                <a:spcPts val="0"/>
              </a:spcAft>
              <a:buClrTx/>
              <a:buSzTx/>
              <a:buFont typeface="Arial"/>
              <a:buNone/>
              <a:tabLst/>
              <a:defRPr/>
            </a:pPr>
            <a:endParaRPr kumimoji="0" lang="en-AU" sz="1000" b="0" i="0" u="none" strike="noStrike" kern="1200" cap="none" spc="0" normalizeH="0" baseline="0" noProof="0" dirty="0">
              <a:ln>
                <a:noFill/>
              </a:ln>
              <a:solidFill>
                <a:srgbClr val="FFFFFF"/>
              </a:solidFill>
              <a:effectLst/>
              <a:uLnTx/>
              <a:uFillTx/>
              <a:latin typeface="Montserrat Medium"/>
              <a:ea typeface="Open Sans Light" panose="020B0306030504020204" pitchFamily="34" charset="0"/>
              <a:cs typeface="Mukta ExtraLight" panose="020B0000000000000000" pitchFamily="34" charset="77"/>
            </a:endParaRPr>
          </a:p>
          <a:p>
            <a:pPr marL="0" marR="0" lvl="0" indent="0" algn="ctr" defTabSz="407972" rtl="0" eaLnBrk="1" fontAlgn="auto" latinLnBrk="0" hangingPunct="1">
              <a:lnSpc>
                <a:spcPct val="100000"/>
              </a:lnSpc>
              <a:spcBef>
                <a:spcPts val="0"/>
              </a:spcBef>
              <a:spcAft>
                <a:spcPts val="0"/>
              </a:spcAft>
              <a:buClrTx/>
              <a:buSzTx/>
              <a:buFont typeface="Arial"/>
              <a:buNone/>
              <a:tabLst/>
              <a:defRPr/>
            </a:pPr>
            <a:endParaRPr kumimoji="0" lang="en-AU" sz="1000" b="0" i="0" u="none" strike="noStrike" kern="1200" cap="none" spc="0" normalizeH="0" baseline="0" noProof="0" dirty="0">
              <a:ln>
                <a:noFill/>
              </a:ln>
              <a:solidFill>
                <a:srgbClr val="FFFFFF"/>
              </a:solidFill>
              <a:effectLst/>
              <a:uLnTx/>
              <a:uFillTx/>
              <a:latin typeface="Montserrat Medium"/>
              <a:ea typeface="Open Sans Light" panose="020B0306030504020204" pitchFamily="34" charset="0"/>
              <a:cs typeface="Mukta ExtraLight" panose="020B0000000000000000" pitchFamily="34" charset="77"/>
            </a:endParaRPr>
          </a:p>
        </p:txBody>
      </p:sp>
      <p:sp>
        <p:nvSpPr>
          <p:cNvPr id="26" name="Subtitle 2">
            <a:extLst>
              <a:ext uri="{FF2B5EF4-FFF2-40B4-BE49-F238E27FC236}">
                <a16:creationId xmlns:a16="http://schemas.microsoft.com/office/drawing/2014/main" id="{6E604627-60C5-194B-986D-1EE214C74413}"/>
              </a:ext>
            </a:extLst>
          </p:cNvPr>
          <p:cNvSpPr txBox="1">
            <a:spLocks/>
          </p:cNvSpPr>
          <p:nvPr/>
        </p:nvSpPr>
        <p:spPr>
          <a:xfrm>
            <a:off x="6032938" y="2654877"/>
            <a:ext cx="2560344"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AU" sz="1000" b="0" i="0" u="none" strike="noStrike" kern="1200" cap="none" spc="0" normalizeH="0" baseline="0" noProof="0" dirty="0">
                <a:ln>
                  <a:noFill/>
                </a:ln>
                <a:solidFill>
                  <a:schemeClr val="tx1"/>
                </a:solidFill>
                <a:effectLst/>
                <a:uLnTx/>
                <a:uFillTx/>
                <a:latin typeface="Montserrat Medium"/>
                <a:ea typeface="+mn-ea"/>
                <a:cs typeface="Times New Roman" panose="02020603050405020304" pitchFamily="18" charset="0"/>
              </a:rPr>
              <a:t>Lead functional behaviour assessments, behaviour support planning, intervention development/ implementation/ monitoring for schools. Ensure Individual Student Support Plans meet the needs of students.</a:t>
            </a:r>
          </a:p>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AU" sz="1000" b="0" i="0" u="none" strike="noStrike" kern="1200" cap="none" spc="0" normalizeH="0" baseline="0" noProof="0" dirty="0">
                <a:ln>
                  <a:noFill/>
                </a:ln>
                <a:solidFill>
                  <a:srgbClr val="FFFFFF"/>
                </a:solidFill>
                <a:effectLst/>
                <a:uLnTx/>
                <a:uFillTx/>
                <a:latin typeface="Montserrat Medium"/>
                <a:ea typeface="+mn-ea"/>
                <a:cs typeface="Times New Roman" panose="02020603050405020304" pitchFamily="18" charset="0"/>
              </a:rPr>
              <a:t> </a:t>
            </a:r>
          </a:p>
        </p:txBody>
      </p:sp>
      <p:sp>
        <p:nvSpPr>
          <p:cNvPr id="27" name="Subtitle 2">
            <a:extLst>
              <a:ext uri="{FF2B5EF4-FFF2-40B4-BE49-F238E27FC236}">
                <a16:creationId xmlns:a16="http://schemas.microsoft.com/office/drawing/2014/main" id="{BE795C2E-BA53-9B41-9889-C2D427A55CE0}"/>
              </a:ext>
            </a:extLst>
          </p:cNvPr>
          <p:cNvSpPr txBox="1">
            <a:spLocks/>
          </p:cNvSpPr>
          <p:nvPr/>
        </p:nvSpPr>
        <p:spPr>
          <a:xfrm>
            <a:off x="6207099" y="4658076"/>
            <a:ext cx="2280831" cy="111185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407972" rtl="0" eaLnBrk="1" fontAlgn="auto" latinLnBrk="0" hangingPunct="1">
              <a:lnSpc>
                <a:spcPct val="100000"/>
              </a:lnSpc>
              <a:spcBef>
                <a:spcPts val="0"/>
              </a:spcBef>
              <a:spcAft>
                <a:spcPts val="0"/>
              </a:spcAft>
              <a:buClr>
                <a:srgbClr val="000000"/>
              </a:buClr>
              <a:buSzTx/>
              <a:buFont typeface="Arial"/>
              <a:buNone/>
              <a:tabLst/>
              <a:defRPr/>
            </a:pPr>
            <a:r>
              <a:rPr kumimoji="0" lang="en-AU" sz="1000" b="0" i="0" u="none" strike="noStrike" kern="1200" cap="none" spc="0" normalizeH="0" baseline="0" noProof="0" dirty="0">
                <a:ln>
                  <a:noFill/>
                </a:ln>
                <a:solidFill>
                  <a:schemeClr val="tx1"/>
                </a:solidFill>
                <a:effectLst/>
                <a:uLnTx/>
                <a:uFillTx/>
                <a:latin typeface="Montserrat Medium"/>
                <a:ea typeface="Open Sans Light" panose="020B0306030504020204" pitchFamily="34" charset="0"/>
                <a:cs typeface="Mukta ExtraLight" panose="020B0000000000000000" pitchFamily="34" charset="77"/>
              </a:rPr>
              <a:t>Work collaboratively within the department and external agencies to ensure integrated service delivery that is responsive to the specific needs of each student. </a:t>
            </a:r>
          </a:p>
          <a:p>
            <a:pPr marL="0" marR="0" lvl="0" indent="0" algn="ctr" defTabSz="407972" rtl="0" eaLnBrk="1" fontAlgn="auto" latinLnBrk="0" hangingPunct="1">
              <a:lnSpc>
                <a:spcPct val="100000"/>
              </a:lnSpc>
              <a:spcBef>
                <a:spcPts val="0"/>
              </a:spcBef>
              <a:spcAft>
                <a:spcPts val="0"/>
              </a:spcAft>
              <a:buClr>
                <a:srgbClr val="000000"/>
              </a:buClr>
              <a:buSzTx/>
              <a:buFont typeface="Arial"/>
              <a:buNone/>
              <a:tabLst/>
              <a:defRPr/>
            </a:pPr>
            <a:endParaRPr kumimoji="0" lang="en-AU" sz="1000" b="0" i="0" u="none" strike="noStrike" kern="1200" cap="none" spc="0" normalizeH="0" baseline="0" noProof="0" dirty="0">
              <a:ln>
                <a:noFill/>
              </a:ln>
              <a:solidFill>
                <a:srgbClr val="FFFFFF"/>
              </a:solidFill>
              <a:effectLst/>
              <a:uLnTx/>
              <a:uFillTx/>
              <a:latin typeface="Montserrat Medium"/>
              <a:ea typeface="Open Sans Light" panose="020B0306030504020204" pitchFamily="34" charset="0"/>
              <a:cs typeface="Mukta ExtraLight" panose="020B0000000000000000" pitchFamily="34" charset="77"/>
            </a:endParaRPr>
          </a:p>
        </p:txBody>
      </p:sp>
      <p:sp>
        <p:nvSpPr>
          <p:cNvPr id="28" name="Subtitle 2">
            <a:extLst>
              <a:ext uri="{FF2B5EF4-FFF2-40B4-BE49-F238E27FC236}">
                <a16:creationId xmlns:a16="http://schemas.microsoft.com/office/drawing/2014/main" id="{08AB9DE6-E30D-3141-8B38-DC6D7C566DDE}"/>
              </a:ext>
            </a:extLst>
          </p:cNvPr>
          <p:cNvSpPr txBox="1">
            <a:spLocks/>
          </p:cNvSpPr>
          <p:nvPr/>
        </p:nvSpPr>
        <p:spPr>
          <a:xfrm>
            <a:off x="567558" y="4598276"/>
            <a:ext cx="2427889"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407972" rtl="0" eaLnBrk="1" fontAlgn="auto" latinLnBrk="0" hangingPunct="1">
              <a:lnSpc>
                <a:spcPct val="100000"/>
              </a:lnSpc>
              <a:spcBef>
                <a:spcPts val="0"/>
              </a:spcBef>
              <a:spcAft>
                <a:spcPts val="0"/>
              </a:spcAft>
              <a:buClrTx/>
              <a:buSzTx/>
              <a:buFont typeface="Arial"/>
              <a:buNone/>
              <a:tabLst/>
              <a:defRPr/>
            </a:pPr>
            <a:r>
              <a:rPr kumimoji="0" lang="en-AU" sz="1000" b="0" i="0" u="none" strike="noStrike" kern="1200" cap="none" spc="0" normalizeH="0" baseline="0" noProof="0" dirty="0">
                <a:ln>
                  <a:noFill/>
                </a:ln>
                <a:solidFill>
                  <a:schemeClr val="tx1"/>
                </a:solidFill>
                <a:effectLst/>
                <a:uLnTx/>
                <a:uFillTx/>
                <a:latin typeface="Montserrat Medium"/>
                <a:ea typeface="Open Sans Light" panose="020B0306030504020204" pitchFamily="34" charset="0"/>
                <a:cs typeface="Mukta ExtraLight" panose="020B0000000000000000" pitchFamily="34" charset="77"/>
              </a:rPr>
              <a:t>Lead the provision of specialist advice to develop flexible and adaptive strategies tailored to the needs of students with complex needs. Guide case discussions, consultations and planning. </a:t>
            </a:r>
          </a:p>
        </p:txBody>
      </p:sp>
      <p:sp>
        <p:nvSpPr>
          <p:cNvPr id="29" name="Subtitle 2">
            <a:extLst>
              <a:ext uri="{FF2B5EF4-FFF2-40B4-BE49-F238E27FC236}">
                <a16:creationId xmlns:a16="http://schemas.microsoft.com/office/drawing/2014/main" id="{D5A1A653-B189-4E45-81AF-02C711EF5CA4}"/>
              </a:ext>
            </a:extLst>
          </p:cNvPr>
          <p:cNvSpPr txBox="1">
            <a:spLocks/>
          </p:cNvSpPr>
          <p:nvPr/>
        </p:nvSpPr>
        <p:spPr>
          <a:xfrm>
            <a:off x="3442139" y="4541701"/>
            <a:ext cx="2288263"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407972" rtl="0" eaLnBrk="1" fontAlgn="auto" latinLnBrk="0" hangingPunct="1">
              <a:lnSpc>
                <a:spcPct val="100000"/>
              </a:lnSpc>
              <a:spcBef>
                <a:spcPts val="0"/>
              </a:spcBef>
              <a:spcAft>
                <a:spcPts val="0"/>
              </a:spcAft>
              <a:buClr>
                <a:srgbClr val="000000"/>
              </a:buClr>
              <a:buSzTx/>
              <a:buFont typeface="Arial"/>
              <a:buNone/>
              <a:tabLst/>
              <a:defRPr/>
            </a:pPr>
            <a:r>
              <a:rPr kumimoji="0" lang="en-AU" sz="1000" b="0" i="0" u="none" strike="noStrike" kern="1200" cap="none" spc="0" normalizeH="0" baseline="0" noProof="0" dirty="0">
                <a:ln>
                  <a:noFill/>
                </a:ln>
                <a:solidFill>
                  <a:schemeClr val="tx1"/>
                </a:solidFill>
                <a:effectLst/>
                <a:uLnTx/>
                <a:uFillTx/>
                <a:latin typeface="Montserrat Medium"/>
                <a:ea typeface="Open Sans Light" panose="020B0306030504020204" pitchFamily="34" charset="0"/>
                <a:cs typeface="Mukta ExtraLight" panose="020B0000000000000000" pitchFamily="34" charset="77"/>
              </a:rPr>
              <a:t>Build the capacity of school-based staff across the Care Continuum and within the Student Behaviour Policy and related procedures.</a:t>
            </a:r>
          </a:p>
          <a:p>
            <a:pPr marL="0" marR="0" lvl="0" indent="0" algn="ctr" defTabSz="407972" rtl="0" eaLnBrk="1" fontAlgn="auto" latinLnBrk="0" hangingPunct="1">
              <a:lnSpc>
                <a:spcPct val="100000"/>
              </a:lnSpc>
              <a:spcBef>
                <a:spcPts val="0"/>
              </a:spcBef>
              <a:spcAft>
                <a:spcPts val="0"/>
              </a:spcAft>
              <a:buClr>
                <a:srgbClr val="000000"/>
              </a:buClr>
              <a:buSzTx/>
              <a:buFont typeface="Arial"/>
              <a:buNone/>
              <a:tabLst/>
              <a:defRPr/>
            </a:pPr>
            <a:endParaRPr kumimoji="0" lang="en-AU" sz="1000" b="0" i="0" u="none" strike="noStrike" kern="1200" cap="none" spc="0" normalizeH="0" baseline="0" noProof="0" dirty="0">
              <a:ln>
                <a:noFill/>
              </a:ln>
              <a:solidFill>
                <a:srgbClr val="FFFFFF"/>
              </a:solidFill>
              <a:effectLst/>
              <a:uLnTx/>
              <a:uFillTx/>
              <a:latin typeface="Montserrat Medium"/>
              <a:ea typeface="Open Sans Light" panose="020B0306030504020204" pitchFamily="34" charset="0"/>
              <a:cs typeface="Mukta ExtraLight" panose="020B0000000000000000" pitchFamily="34" charset="77"/>
            </a:endParaRPr>
          </a:p>
        </p:txBody>
      </p:sp>
      <p:sp>
        <p:nvSpPr>
          <p:cNvPr id="23" name="TextBox 22">
            <a:extLst>
              <a:ext uri="{FF2B5EF4-FFF2-40B4-BE49-F238E27FC236}">
                <a16:creationId xmlns:a16="http://schemas.microsoft.com/office/drawing/2014/main" id="{FAAD0A9B-BD37-5B43-B5C7-D77A63A2AB73}"/>
              </a:ext>
            </a:extLst>
          </p:cNvPr>
          <p:cNvSpPr txBox="1"/>
          <p:nvPr/>
        </p:nvSpPr>
        <p:spPr>
          <a:xfrm>
            <a:off x="3373821" y="4002924"/>
            <a:ext cx="2485697" cy="430887"/>
          </a:xfrm>
          <a:prstGeom prst="rect">
            <a:avLst/>
          </a:prstGeom>
          <a:noFill/>
        </p:spPr>
        <p:txBody>
          <a:bodyPr wrap="squar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Montserrat SemiBold"/>
                <a:ea typeface="League Spartan" charset="0"/>
                <a:cs typeface="Poppins" pitchFamily="2" charset="77"/>
              </a:rPr>
              <a:t>BUILD CAPACITY OF SCHOOL BASED STAFF </a:t>
            </a:r>
            <a:r>
              <a:rPr kumimoji="0" lang="en-US" sz="1100" b="1" i="0" u="none" strike="noStrike" kern="1200" cap="none" spc="0" normalizeH="0" baseline="0" noProof="0" dirty="0">
                <a:ln>
                  <a:noFill/>
                </a:ln>
                <a:solidFill>
                  <a:srgbClr val="FF0000"/>
                </a:solidFill>
                <a:effectLst/>
                <a:uLnTx/>
                <a:uFillTx/>
                <a:latin typeface="Montserrat SemiBold"/>
                <a:ea typeface="League Spartan" charset="0"/>
                <a:cs typeface="Poppins" pitchFamily="2" charset="77"/>
              </a:rPr>
              <a:t>05</a:t>
            </a:r>
          </a:p>
        </p:txBody>
      </p:sp>
      <p:sp>
        <p:nvSpPr>
          <p:cNvPr id="30" name="TextBox 29">
            <a:extLst>
              <a:ext uri="{FF2B5EF4-FFF2-40B4-BE49-F238E27FC236}">
                <a16:creationId xmlns:a16="http://schemas.microsoft.com/office/drawing/2014/main" id="{FAAD0A9B-BD37-5B43-B5C7-D77A63A2AB73}"/>
              </a:ext>
            </a:extLst>
          </p:cNvPr>
          <p:cNvSpPr txBox="1"/>
          <p:nvPr/>
        </p:nvSpPr>
        <p:spPr>
          <a:xfrm>
            <a:off x="6062252" y="3939696"/>
            <a:ext cx="2503104" cy="600164"/>
          </a:xfrm>
          <a:prstGeom prst="rect">
            <a:avLst/>
          </a:prstGeom>
          <a:noFill/>
        </p:spPr>
        <p:txBody>
          <a:bodyPr wrap="squar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Montserrat SemiBold"/>
                <a:ea typeface="League Spartan" charset="0"/>
                <a:cs typeface="Poppins" pitchFamily="2" charset="77"/>
              </a:rPr>
              <a:t>FACILITATE INTEGRATED, STUDENT-CENTRIC SERVICE SUPPORT </a:t>
            </a:r>
            <a:r>
              <a:rPr kumimoji="0" lang="en-US" sz="1100" b="1" i="0" u="none" strike="noStrike" kern="1200" cap="none" spc="0" normalizeH="0" baseline="0" noProof="0" dirty="0">
                <a:ln>
                  <a:noFill/>
                </a:ln>
                <a:solidFill>
                  <a:srgbClr val="FF0000"/>
                </a:solidFill>
                <a:effectLst/>
                <a:uLnTx/>
                <a:uFillTx/>
                <a:latin typeface="Montserrat SemiBold"/>
                <a:ea typeface="League Spartan" charset="0"/>
                <a:cs typeface="Poppins" pitchFamily="2" charset="77"/>
              </a:rPr>
              <a:t>06</a:t>
            </a:r>
          </a:p>
        </p:txBody>
      </p:sp>
      <p:sp>
        <p:nvSpPr>
          <p:cNvPr id="22" name="Rectangle 21"/>
          <p:cNvSpPr/>
          <p:nvPr/>
        </p:nvSpPr>
        <p:spPr>
          <a:xfrm>
            <a:off x="8267932" y="137644"/>
            <a:ext cx="722376" cy="2651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FFFFFF"/>
                </a:solidFill>
                <a:effectLst/>
                <a:uLnTx/>
                <a:uFillTx/>
                <a:latin typeface="Montserrat Medium"/>
                <a:ea typeface="+mn-ea"/>
                <a:cs typeface="+mn-cs"/>
              </a:rPr>
              <a:t>DRAFT</a:t>
            </a:r>
          </a:p>
        </p:txBody>
      </p:sp>
    </p:spTree>
    <p:extLst>
      <p:ext uri="{BB962C8B-B14F-4D97-AF65-F5344CB8AC3E}">
        <p14:creationId xmlns:p14="http://schemas.microsoft.com/office/powerpoint/2010/main" val="29119478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27051" y="1336400"/>
            <a:ext cx="8627651" cy="419659"/>
          </a:xfrm>
        </p:spPr>
        <p:txBody>
          <a:bodyPr/>
          <a:lstStyle/>
          <a:p>
            <a:pPr>
              <a:lnSpc>
                <a:spcPct val="100000"/>
              </a:lnSpc>
              <a:spcAft>
                <a:spcPts val="0"/>
              </a:spcAft>
            </a:pPr>
            <a:r>
              <a:rPr lang="en-AU" sz="1600" dirty="0"/>
              <a:t>Helping schools streamline and embed consistent processes and practices </a:t>
            </a:r>
          </a:p>
        </p:txBody>
      </p:sp>
      <p:sp>
        <p:nvSpPr>
          <p:cNvPr id="4" name="Title 3"/>
          <p:cNvSpPr>
            <a:spLocks noGrp="1"/>
          </p:cNvSpPr>
          <p:nvPr>
            <p:ph type="title"/>
          </p:nvPr>
        </p:nvSpPr>
        <p:spPr>
          <a:xfrm>
            <a:off x="297355" y="692123"/>
            <a:ext cx="8623051" cy="498470"/>
          </a:xfrm>
        </p:spPr>
        <p:txBody>
          <a:bodyPr/>
          <a:lstStyle/>
          <a:p>
            <a:r>
              <a:rPr lang="en-AU" sz="2000" dirty="0"/>
              <a:t>Other support available to schools to implement the Policy &amp; Procedures </a:t>
            </a:r>
          </a:p>
        </p:txBody>
      </p:sp>
      <p:sp>
        <p:nvSpPr>
          <p:cNvPr id="6" name="Rectangle 5">
            <a:extLst>
              <a:ext uri="{FF2B5EF4-FFF2-40B4-BE49-F238E27FC236}">
                <a16:creationId xmlns:a16="http://schemas.microsoft.com/office/drawing/2014/main" id="{AEA488A3-06FF-A44C-A9CC-E2A3F36B9E92}"/>
              </a:ext>
            </a:extLst>
          </p:cNvPr>
          <p:cNvSpPr/>
          <p:nvPr/>
        </p:nvSpPr>
        <p:spPr>
          <a:xfrm>
            <a:off x="569903" y="1966626"/>
            <a:ext cx="2483532" cy="1718064"/>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4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Raleway Light" panose="020B0403030101060003" pitchFamily="34" charset="77"/>
              <a:ea typeface="+mn-ea"/>
              <a:cs typeface="+mn-cs"/>
            </a:endParaRPr>
          </a:p>
        </p:txBody>
      </p:sp>
      <p:sp>
        <p:nvSpPr>
          <p:cNvPr id="7" name="Rectangle 6">
            <a:extLst>
              <a:ext uri="{FF2B5EF4-FFF2-40B4-BE49-F238E27FC236}">
                <a16:creationId xmlns:a16="http://schemas.microsoft.com/office/drawing/2014/main" id="{D0DDC3A8-5CB0-8F47-ACB8-4F9BA922B1B3}"/>
              </a:ext>
            </a:extLst>
          </p:cNvPr>
          <p:cNvSpPr/>
          <p:nvPr/>
        </p:nvSpPr>
        <p:spPr>
          <a:xfrm>
            <a:off x="569903" y="3997532"/>
            <a:ext cx="2483532" cy="1718064"/>
          </a:xfrm>
          <a:prstGeom prst="rect">
            <a:avLst/>
          </a:prstGeom>
          <a:solidFill>
            <a:srgbClr val="E9C4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4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Raleway Light" panose="020B0403030101060003" pitchFamily="34" charset="77"/>
              <a:ea typeface="+mn-ea"/>
              <a:cs typeface="+mn-cs"/>
            </a:endParaRPr>
          </a:p>
        </p:txBody>
      </p:sp>
      <p:sp>
        <p:nvSpPr>
          <p:cNvPr id="8" name="Rectangle 7">
            <a:extLst>
              <a:ext uri="{FF2B5EF4-FFF2-40B4-BE49-F238E27FC236}">
                <a16:creationId xmlns:a16="http://schemas.microsoft.com/office/drawing/2014/main" id="{DEE97F36-873B-3F4D-8228-3D025443AE09}"/>
              </a:ext>
            </a:extLst>
          </p:cNvPr>
          <p:cNvSpPr/>
          <p:nvPr/>
        </p:nvSpPr>
        <p:spPr>
          <a:xfrm>
            <a:off x="3330234" y="2013042"/>
            <a:ext cx="2483532" cy="1718064"/>
          </a:xfrm>
          <a:prstGeom prst="rect">
            <a:avLst/>
          </a:prstGeom>
          <a:solidFill>
            <a:srgbClr val="E9C4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4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Raleway Light" panose="020B0403030101060003" pitchFamily="34" charset="77"/>
              <a:ea typeface="+mn-ea"/>
              <a:cs typeface="+mn-cs"/>
            </a:endParaRPr>
          </a:p>
        </p:txBody>
      </p:sp>
      <p:sp>
        <p:nvSpPr>
          <p:cNvPr id="9" name="Rectangle 8">
            <a:extLst>
              <a:ext uri="{FF2B5EF4-FFF2-40B4-BE49-F238E27FC236}">
                <a16:creationId xmlns:a16="http://schemas.microsoft.com/office/drawing/2014/main" id="{2A996DC2-60E0-704A-977E-B39FAC1AA130}"/>
              </a:ext>
            </a:extLst>
          </p:cNvPr>
          <p:cNvSpPr/>
          <p:nvPr/>
        </p:nvSpPr>
        <p:spPr>
          <a:xfrm>
            <a:off x="3330234" y="3997532"/>
            <a:ext cx="2483532" cy="1718064"/>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4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Raleway Light" panose="020B0403030101060003" pitchFamily="34" charset="77"/>
              <a:ea typeface="+mn-ea"/>
              <a:cs typeface="+mn-cs"/>
            </a:endParaRPr>
          </a:p>
        </p:txBody>
      </p:sp>
      <p:sp>
        <p:nvSpPr>
          <p:cNvPr id="10" name="Rectangle 9">
            <a:extLst>
              <a:ext uri="{FF2B5EF4-FFF2-40B4-BE49-F238E27FC236}">
                <a16:creationId xmlns:a16="http://schemas.microsoft.com/office/drawing/2014/main" id="{C8295544-C43C-2748-B956-9EA0FC994A2E}"/>
              </a:ext>
            </a:extLst>
          </p:cNvPr>
          <p:cNvSpPr/>
          <p:nvPr/>
        </p:nvSpPr>
        <p:spPr>
          <a:xfrm>
            <a:off x="6090010" y="2013042"/>
            <a:ext cx="2483532" cy="1718064"/>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4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Raleway Light" panose="020B0403030101060003" pitchFamily="34" charset="77"/>
              <a:ea typeface="+mn-ea"/>
              <a:cs typeface="+mn-cs"/>
            </a:endParaRPr>
          </a:p>
        </p:txBody>
      </p:sp>
      <p:sp>
        <p:nvSpPr>
          <p:cNvPr id="11" name="Rectangle 10">
            <a:extLst>
              <a:ext uri="{FF2B5EF4-FFF2-40B4-BE49-F238E27FC236}">
                <a16:creationId xmlns:a16="http://schemas.microsoft.com/office/drawing/2014/main" id="{EEA53924-ECBA-B148-A0EB-476F3371CF1A}"/>
              </a:ext>
            </a:extLst>
          </p:cNvPr>
          <p:cNvSpPr/>
          <p:nvPr/>
        </p:nvSpPr>
        <p:spPr>
          <a:xfrm>
            <a:off x="6090010" y="4002727"/>
            <a:ext cx="2483532" cy="1718064"/>
          </a:xfrm>
          <a:prstGeom prst="rect">
            <a:avLst/>
          </a:prstGeom>
          <a:solidFill>
            <a:srgbClr val="E9C4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4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Raleway Light" panose="020B0403030101060003" pitchFamily="34" charset="77"/>
              <a:ea typeface="+mn-ea"/>
              <a:cs typeface="+mn-cs"/>
            </a:endParaRPr>
          </a:p>
        </p:txBody>
      </p:sp>
      <p:sp>
        <p:nvSpPr>
          <p:cNvPr id="18" name="TextBox 17">
            <a:extLst>
              <a:ext uri="{FF2B5EF4-FFF2-40B4-BE49-F238E27FC236}">
                <a16:creationId xmlns:a16="http://schemas.microsoft.com/office/drawing/2014/main" id="{72E5629F-B88B-4844-8F15-A1E5535C1C85}"/>
              </a:ext>
            </a:extLst>
          </p:cNvPr>
          <p:cNvSpPr txBox="1"/>
          <p:nvPr/>
        </p:nvSpPr>
        <p:spPr>
          <a:xfrm>
            <a:off x="862445" y="2039343"/>
            <a:ext cx="2036619" cy="461665"/>
          </a:xfrm>
          <a:prstGeom prst="rect">
            <a:avLst/>
          </a:prstGeom>
          <a:noFill/>
        </p:spPr>
        <p:txBody>
          <a:bodyPr wrap="squar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F1E18"/>
                </a:solidFill>
                <a:effectLst/>
                <a:uLnTx/>
                <a:uFillTx/>
                <a:latin typeface="Montserrat SemiBold"/>
                <a:ea typeface="League Spartan" charset="0"/>
                <a:cs typeface="Poppins" pitchFamily="2" charset="77"/>
              </a:rPr>
              <a:t>PROFESSIONAL LEARNING </a:t>
            </a:r>
            <a:r>
              <a:rPr kumimoji="0" lang="en-US" sz="1200" b="1" i="0" u="none" strike="noStrike" kern="1200" cap="none" spc="0" normalizeH="0" baseline="0" noProof="0" dirty="0">
                <a:ln>
                  <a:noFill/>
                </a:ln>
                <a:solidFill>
                  <a:srgbClr val="FFFFFF"/>
                </a:solidFill>
                <a:effectLst/>
                <a:uLnTx/>
                <a:uFillTx/>
                <a:latin typeface="Montserrat SemiBold"/>
                <a:ea typeface="League Spartan" charset="0"/>
                <a:cs typeface="Poppins" pitchFamily="2" charset="77"/>
              </a:rPr>
              <a:t>01</a:t>
            </a:r>
          </a:p>
        </p:txBody>
      </p:sp>
      <p:sp>
        <p:nvSpPr>
          <p:cNvPr id="19" name="TextBox 18">
            <a:extLst>
              <a:ext uri="{FF2B5EF4-FFF2-40B4-BE49-F238E27FC236}">
                <a16:creationId xmlns:a16="http://schemas.microsoft.com/office/drawing/2014/main" id="{C360A542-35EB-104E-B255-ED98099E1570}"/>
              </a:ext>
            </a:extLst>
          </p:cNvPr>
          <p:cNvSpPr txBox="1"/>
          <p:nvPr/>
        </p:nvSpPr>
        <p:spPr>
          <a:xfrm>
            <a:off x="3765530" y="2032962"/>
            <a:ext cx="1612942" cy="276999"/>
          </a:xfrm>
          <a:prstGeom prst="rect">
            <a:avLst/>
          </a:prstGeom>
          <a:noFill/>
        </p:spPr>
        <p:txBody>
          <a:bodyPr wrap="non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F1E18"/>
                </a:solidFill>
                <a:effectLst/>
                <a:uLnTx/>
                <a:uFillTx/>
                <a:latin typeface="Montserrat SemiBold"/>
                <a:ea typeface="League Spartan" charset="0"/>
                <a:cs typeface="Poppins" pitchFamily="2" charset="77"/>
              </a:rPr>
              <a:t>FLOW CHARTS </a:t>
            </a:r>
            <a:r>
              <a:rPr kumimoji="0" lang="en-US" sz="1200" b="1" i="0" u="none" strike="noStrike" kern="1200" cap="none" spc="0" normalizeH="0" baseline="0" noProof="0" dirty="0">
                <a:ln>
                  <a:noFill/>
                </a:ln>
                <a:solidFill>
                  <a:srgbClr val="FFFFFF"/>
                </a:solidFill>
                <a:effectLst/>
                <a:uLnTx/>
                <a:uFillTx/>
                <a:latin typeface="Montserrat SemiBold"/>
                <a:ea typeface="League Spartan" charset="0"/>
                <a:cs typeface="Poppins" pitchFamily="2" charset="77"/>
              </a:rPr>
              <a:t>02</a:t>
            </a:r>
          </a:p>
        </p:txBody>
      </p:sp>
      <p:sp>
        <p:nvSpPr>
          <p:cNvPr id="21" name="TextBox 20">
            <a:extLst>
              <a:ext uri="{FF2B5EF4-FFF2-40B4-BE49-F238E27FC236}">
                <a16:creationId xmlns:a16="http://schemas.microsoft.com/office/drawing/2014/main" id="{290F0CBE-7092-3F4E-B575-99A08B77B784}"/>
              </a:ext>
            </a:extLst>
          </p:cNvPr>
          <p:cNvSpPr txBox="1"/>
          <p:nvPr/>
        </p:nvSpPr>
        <p:spPr>
          <a:xfrm>
            <a:off x="769416" y="4002236"/>
            <a:ext cx="2188420" cy="276999"/>
          </a:xfrm>
          <a:prstGeom prst="rect">
            <a:avLst/>
          </a:prstGeom>
          <a:noFill/>
        </p:spPr>
        <p:txBody>
          <a:bodyPr wrap="non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F1E18"/>
                </a:solidFill>
                <a:effectLst/>
                <a:uLnTx/>
                <a:uFillTx/>
                <a:latin typeface="Montserrat SemiBold"/>
                <a:ea typeface="League Spartan" charset="0"/>
                <a:cs typeface="Poppins" pitchFamily="2" charset="77"/>
              </a:rPr>
              <a:t>SUPPORT PATHWAYS </a:t>
            </a:r>
            <a:r>
              <a:rPr kumimoji="0" lang="en-US" sz="1200" b="1" i="0" u="none" strike="noStrike" kern="1200" cap="none" spc="0" normalizeH="0" baseline="0" noProof="0" dirty="0">
                <a:ln>
                  <a:noFill/>
                </a:ln>
                <a:solidFill>
                  <a:srgbClr val="FFFFFF"/>
                </a:solidFill>
                <a:effectLst/>
                <a:uLnTx/>
                <a:uFillTx/>
                <a:latin typeface="Montserrat SemiBold"/>
                <a:ea typeface="League Spartan" charset="0"/>
                <a:cs typeface="Poppins" pitchFamily="2" charset="77"/>
              </a:rPr>
              <a:t>04</a:t>
            </a:r>
          </a:p>
        </p:txBody>
      </p:sp>
      <p:sp>
        <p:nvSpPr>
          <p:cNvPr id="22" name="TextBox 21">
            <a:extLst>
              <a:ext uri="{FF2B5EF4-FFF2-40B4-BE49-F238E27FC236}">
                <a16:creationId xmlns:a16="http://schemas.microsoft.com/office/drawing/2014/main" id="{FAAD0A9B-BD37-5B43-B5C7-D77A63A2AB73}"/>
              </a:ext>
            </a:extLst>
          </p:cNvPr>
          <p:cNvSpPr txBox="1"/>
          <p:nvPr/>
        </p:nvSpPr>
        <p:spPr>
          <a:xfrm>
            <a:off x="3450160" y="4012626"/>
            <a:ext cx="2233304" cy="276999"/>
          </a:xfrm>
          <a:prstGeom prst="rect">
            <a:avLst/>
          </a:prstGeom>
          <a:noFill/>
        </p:spPr>
        <p:txBody>
          <a:bodyPr wrap="non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F1E18"/>
                </a:solidFill>
                <a:effectLst/>
                <a:uLnTx/>
                <a:uFillTx/>
                <a:latin typeface="Montserrat SemiBold"/>
                <a:ea typeface="League Spartan" charset="0"/>
                <a:cs typeface="Poppins" pitchFamily="2" charset="77"/>
              </a:rPr>
              <a:t>ASSESSMENT TOOLKIT </a:t>
            </a:r>
            <a:r>
              <a:rPr kumimoji="0" lang="en-US" sz="1200" b="1" i="0" u="none" strike="noStrike" kern="1200" cap="none" spc="0" normalizeH="0" baseline="0" noProof="0" dirty="0">
                <a:ln>
                  <a:noFill/>
                </a:ln>
                <a:solidFill>
                  <a:srgbClr val="FFFFFF"/>
                </a:solidFill>
                <a:effectLst/>
                <a:uLnTx/>
                <a:uFillTx/>
                <a:latin typeface="Montserrat SemiBold"/>
                <a:ea typeface="League Spartan" charset="0"/>
                <a:cs typeface="Poppins" pitchFamily="2" charset="77"/>
              </a:rPr>
              <a:t>05</a:t>
            </a:r>
          </a:p>
        </p:txBody>
      </p:sp>
      <p:sp>
        <p:nvSpPr>
          <p:cNvPr id="23" name="TextBox 22">
            <a:extLst>
              <a:ext uri="{FF2B5EF4-FFF2-40B4-BE49-F238E27FC236}">
                <a16:creationId xmlns:a16="http://schemas.microsoft.com/office/drawing/2014/main" id="{2F8E8536-3273-CC43-887A-DD6A56C21CC7}"/>
              </a:ext>
            </a:extLst>
          </p:cNvPr>
          <p:cNvSpPr txBox="1"/>
          <p:nvPr/>
        </p:nvSpPr>
        <p:spPr>
          <a:xfrm>
            <a:off x="6466296" y="4017822"/>
            <a:ext cx="1803699" cy="276999"/>
          </a:xfrm>
          <a:prstGeom prst="rect">
            <a:avLst/>
          </a:prstGeom>
          <a:noFill/>
        </p:spPr>
        <p:txBody>
          <a:bodyPr wrap="non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F1E18"/>
                </a:solidFill>
                <a:effectLst/>
                <a:uLnTx/>
                <a:uFillTx/>
                <a:latin typeface="Montserrat SemiBold"/>
                <a:ea typeface="League Spartan" charset="0"/>
                <a:cs typeface="Poppins" pitchFamily="2" charset="77"/>
              </a:rPr>
              <a:t>COMMISSIONING </a:t>
            </a:r>
            <a:r>
              <a:rPr kumimoji="0" lang="en-US" sz="1200" b="1" i="0" u="none" strike="noStrike" kern="1200" cap="none" spc="0" normalizeH="0" baseline="0" noProof="0" dirty="0">
                <a:ln>
                  <a:noFill/>
                </a:ln>
                <a:solidFill>
                  <a:srgbClr val="FFFFFF"/>
                </a:solidFill>
                <a:effectLst/>
                <a:uLnTx/>
                <a:uFillTx/>
                <a:latin typeface="Montserrat SemiBold"/>
                <a:ea typeface="League Spartan" charset="0"/>
                <a:cs typeface="Poppins" pitchFamily="2" charset="77"/>
              </a:rPr>
              <a:t>06</a:t>
            </a:r>
          </a:p>
        </p:txBody>
      </p:sp>
      <p:sp>
        <p:nvSpPr>
          <p:cNvPr id="24" name="Subtitle 2">
            <a:extLst>
              <a:ext uri="{FF2B5EF4-FFF2-40B4-BE49-F238E27FC236}">
                <a16:creationId xmlns:a16="http://schemas.microsoft.com/office/drawing/2014/main" id="{E35F4092-93D7-0540-A87F-EBEC777A2669}"/>
              </a:ext>
            </a:extLst>
          </p:cNvPr>
          <p:cNvSpPr txBox="1">
            <a:spLocks/>
          </p:cNvSpPr>
          <p:nvPr/>
        </p:nvSpPr>
        <p:spPr>
          <a:xfrm>
            <a:off x="646385" y="2559269"/>
            <a:ext cx="2330609" cy="111185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407972" rtl="0" eaLnBrk="1" fontAlgn="auto" latinLnBrk="0" hangingPunct="1">
              <a:lnSpc>
                <a:spcPct val="100000"/>
              </a:lnSpc>
              <a:spcBef>
                <a:spcPts val="0"/>
              </a:spcBef>
              <a:spcAft>
                <a:spcPts val="0"/>
              </a:spcAft>
              <a:buClrTx/>
              <a:buSzTx/>
              <a:buFont typeface="Arial"/>
              <a:buNone/>
              <a:tabLst/>
              <a:defRPr/>
            </a:pPr>
            <a:r>
              <a:rPr kumimoji="0" lang="en-US" sz="1000" b="0" i="0" u="none" strike="noStrike" kern="1200" cap="none" spc="0" normalizeH="0" baseline="0" noProof="0" dirty="0">
                <a:ln>
                  <a:noFill/>
                </a:ln>
                <a:solidFill>
                  <a:srgbClr val="2F1E18"/>
                </a:solidFill>
                <a:effectLst/>
                <a:uLnTx/>
                <a:uFillTx/>
                <a:latin typeface="Montserrat Medium"/>
                <a:ea typeface="Open Sans Light" panose="020B0306030504020204" pitchFamily="34" charset="0"/>
                <a:cs typeface="Mukta ExtraLight" panose="020B0000000000000000" pitchFamily="34" charset="77"/>
              </a:rPr>
              <a:t>We will provide professional learning to schools on implementing the new Student Behaviour Policy as well as the  Procedures to Support the Student Behaviour Policy K-6 and 7-12.</a:t>
            </a:r>
          </a:p>
        </p:txBody>
      </p:sp>
      <p:sp>
        <p:nvSpPr>
          <p:cNvPr id="25" name="Subtitle 2">
            <a:extLst>
              <a:ext uri="{FF2B5EF4-FFF2-40B4-BE49-F238E27FC236}">
                <a16:creationId xmlns:a16="http://schemas.microsoft.com/office/drawing/2014/main" id="{2F322C71-4AEC-4D4B-870D-1F2E1D351531}"/>
              </a:ext>
            </a:extLst>
          </p:cNvPr>
          <p:cNvSpPr txBox="1">
            <a:spLocks/>
          </p:cNvSpPr>
          <p:nvPr/>
        </p:nvSpPr>
        <p:spPr>
          <a:xfrm>
            <a:off x="3483283" y="2711669"/>
            <a:ext cx="2255365" cy="49629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407972" rtl="0" eaLnBrk="1" fontAlgn="auto" latinLnBrk="0" hangingPunct="1">
              <a:lnSpc>
                <a:spcPct val="100000"/>
              </a:lnSpc>
              <a:spcBef>
                <a:spcPts val="0"/>
              </a:spcBef>
              <a:spcAft>
                <a:spcPts val="0"/>
              </a:spcAft>
              <a:buClrTx/>
              <a:buSzTx/>
              <a:buFont typeface="Arial"/>
              <a:buNone/>
              <a:tabLst/>
              <a:defRPr/>
            </a:pPr>
            <a:r>
              <a:rPr kumimoji="0" lang="en-US" sz="1000" b="0" i="0" u="none" strike="noStrike" kern="1200" cap="none" spc="0" normalizeH="0" baseline="0" noProof="0" dirty="0">
                <a:ln>
                  <a:noFill/>
                </a:ln>
                <a:solidFill>
                  <a:srgbClr val="2F1E18"/>
                </a:solidFill>
                <a:effectLst/>
                <a:uLnTx/>
                <a:uFillTx/>
                <a:latin typeface="Montserrat Medium"/>
                <a:ea typeface="Open Sans Light" panose="020B0306030504020204" pitchFamily="34" charset="0"/>
                <a:cs typeface="Mukta ExtraLight" panose="020B0000000000000000" pitchFamily="34" charset="77"/>
              </a:rPr>
              <a:t>We will provide flow charts to streamline processes across schools.</a:t>
            </a:r>
          </a:p>
        </p:txBody>
      </p:sp>
      <p:sp>
        <p:nvSpPr>
          <p:cNvPr id="26" name="Subtitle 2">
            <a:extLst>
              <a:ext uri="{FF2B5EF4-FFF2-40B4-BE49-F238E27FC236}">
                <a16:creationId xmlns:a16="http://schemas.microsoft.com/office/drawing/2014/main" id="{6E604627-60C5-194B-986D-1EE214C74413}"/>
              </a:ext>
            </a:extLst>
          </p:cNvPr>
          <p:cNvSpPr txBox="1">
            <a:spLocks/>
          </p:cNvSpPr>
          <p:nvPr/>
        </p:nvSpPr>
        <p:spPr>
          <a:xfrm>
            <a:off x="3273972" y="4340772"/>
            <a:ext cx="2575035"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407972" rtl="0" eaLnBrk="1" fontAlgn="auto" latinLnBrk="0" hangingPunct="1">
              <a:lnSpc>
                <a:spcPct val="100000"/>
              </a:lnSpc>
              <a:spcBef>
                <a:spcPts val="0"/>
              </a:spcBef>
              <a:spcAft>
                <a:spcPts val="0"/>
              </a:spcAft>
              <a:buClrTx/>
              <a:buSzTx/>
              <a:buFont typeface="Arial"/>
              <a:buNone/>
              <a:tabLst/>
              <a:defRPr/>
            </a:pPr>
            <a:r>
              <a:rPr kumimoji="0" lang="en-US" sz="1000" b="0" i="0" u="none" strike="noStrike" kern="1200" cap="none" spc="0" normalizeH="0" baseline="0" noProof="0" dirty="0">
                <a:ln>
                  <a:noFill/>
                </a:ln>
                <a:solidFill>
                  <a:srgbClr val="2F1E18"/>
                </a:solidFill>
                <a:effectLst/>
                <a:uLnTx/>
                <a:uFillTx/>
                <a:latin typeface="Montserrat Medium"/>
                <a:ea typeface="Open Sans Light" panose="020B0306030504020204" pitchFamily="34" charset="0"/>
                <a:cs typeface="Mukta ExtraLight" panose="020B0000000000000000" pitchFamily="34" charset="77"/>
              </a:rPr>
              <a:t>We will provide assessment toolkits to schools to effectively understand behaviour and use supportive strategies aligned to the varied needs of our diverse student cohorts. </a:t>
            </a:r>
          </a:p>
          <a:p>
            <a:pPr marL="0" marR="0" lvl="0" indent="0" algn="ctr" defTabSz="407972" rtl="0" eaLnBrk="1" fontAlgn="auto" latinLnBrk="0" hangingPunct="1">
              <a:lnSpc>
                <a:spcPct val="100000"/>
              </a:lnSpc>
              <a:spcBef>
                <a:spcPts val="0"/>
              </a:spcBef>
              <a:spcAft>
                <a:spcPts val="0"/>
              </a:spcAft>
              <a:buClrTx/>
              <a:buSzTx/>
              <a:buFont typeface="Arial"/>
              <a:buNone/>
              <a:tabLst/>
              <a:defRPr/>
            </a:pPr>
            <a:r>
              <a:rPr kumimoji="0" lang="en-US" sz="1000" b="0" i="0" u="none" strike="noStrike" kern="1200" cap="none" spc="0" normalizeH="0" baseline="0" noProof="0" dirty="0">
                <a:ln>
                  <a:noFill/>
                </a:ln>
                <a:solidFill>
                  <a:srgbClr val="2F1E18"/>
                </a:solidFill>
                <a:effectLst/>
                <a:uLnTx/>
                <a:uFillTx/>
                <a:latin typeface="Montserrat Medium"/>
                <a:ea typeface="Open Sans Light" panose="020B0306030504020204" pitchFamily="34" charset="0"/>
                <a:cs typeface="Mukta ExtraLight" panose="020B0000000000000000" pitchFamily="34" charset="77"/>
              </a:rPr>
              <a:t>We will provide references to support schools in embedding positive behaviour support approaches.</a:t>
            </a:r>
          </a:p>
        </p:txBody>
      </p:sp>
      <p:sp>
        <p:nvSpPr>
          <p:cNvPr id="27" name="Subtitle 2">
            <a:extLst>
              <a:ext uri="{FF2B5EF4-FFF2-40B4-BE49-F238E27FC236}">
                <a16:creationId xmlns:a16="http://schemas.microsoft.com/office/drawing/2014/main" id="{BE795C2E-BA53-9B41-9889-C2D427A55CE0}"/>
              </a:ext>
            </a:extLst>
          </p:cNvPr>
          <p:cNvSpPr txBox="1">
            <a:spLocks/>
          </p:cNvSpPr>
          <p:nvPr/>
        </p:nvSpPr>
        <p:spPr>
          <a:xfrm>
            <a:off x="641131" y="4419600"/>
            <a:ext cx="2385848" cy="111185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407972" rtl="0" eaLnBrk="1" fontAlgn="auto" latinLnBrk="0" hangingPunct="1">
              <a:lnSpc>
                <a:spcPct val="100000"/>
              </a:lnSpc>
              <a:spcBef>
                <a:spcPts val="0"/>
              </a:spcBef>
              <a:spcAft>
                <a:spcPts val="0"/>
              </a:spcAft>
              <a:buClrTx/>
              <a:buSzTx/>
              <a:buFont typeface="Arial"/>
              <a:buNone/>
              <a:tabLst/>
              <a:defRPr/>
            </a:pPr>
            <a:r>
              <a:rPr kumimoji="0" lang="en-US" sz="1000" b="0" i="0" u="none" strike="noStrike" kern="1200" cap="none" spc="0" normalizeH="0" baseline="0" noProof="0" dirty="0">
                <a:ln>
                  <a:noFill/>
                </a:ln>
                <a:solidFill>
                  <a:srgbClr val="2F1E18"/>
                </a:solidFill>
                <a:effectLst/>
                <a:uLnTx/>
                <a:uFillTx/>
                <a:latin typeface="Montserrat Medium"/>
                <a:ea typeface="Open Sans Light" panose="020B0306030504020204" pitchFamily="34" charset="0"/>
                <a:cs typeface="Mukta ExtraLight" panose="020B0000000000000000" pitchFamily="34" charset="77"/>
              </a:rPr>
              <a:t>We will provide support pathways for vulnerable student cohorts including students with disability, Aboriginal students, students in out-of-home care, students ‘at risk of disengagement’ and students with LBOTE. </a:t>
            </a:r>
          </a:p>
        </p:txBody>
      </p:sp>
      <p:sp>
        <p:nvSpPr>
          <p:cNvPr id="29" name="Subtitle 2">
            <a:extLst>
              <a:ext uri="{FF2B5EF4-FFF2-40B4-BE49-F238E27FC236}">
                <a16:creationId xmlns:a16="http://schemas.microsoft.com/office/drawing/2014/main" id="{D5A1A653-B189-4E45-81AF-02C711EF5CA4}"/>
              </a:ext>
            </a:extLst>
          </p:cNvPr>
          <p:cNvSpPr txBox="1">
            <a:spLocks/>
          </p:cNvSpPr>
          <p:nvPr/>
        </p:nvSpPr>
        <p:spPr>
          <a:xfrm>
            <a:off x="6252940" y="4388069"/>
            <a:ext cx="2176358" cy="125445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407972" rtl="0" eaLnBrk="1" fontAlgn="auto" latinLnBrk="0" hangingPunct="1">
              <a:lnSpc>
                <a:spcPct val="100000"/>
              </a:lnSpc>
              <a:spcBef>
                <a:spcPts val="0"/>
              </a:spcBef>
              <a:spcAft>
                <a:spcPts val="0"/>
              </a:spcAft>
              <a:buClrTx/>
              <a:buSzTx/>
              <a:buFont typeface="Arial"/>
              <a:buNone/>
              <a:tabLst/>
              <a:defRPr/>
            </a:pPr>
            <a:r>
              <a:rPr kumimoji="0" lang="en-US" sz="1000" b="0" i="0" u="none" strike="noStrike" kern="1200" cap="none" spc="0" normalizeH="0" baseline="0" noProof="0" dirty="0">
                <a:ln>
                  <a:noFill/>
                </a:ln>
                <a:solidFill>
                  <a:srgbClr val="2F1E18"/>
                </a:solidFill>
                <a:effectLst/>
                <a:uLnTx/>
                <a:uFillTx/>
                <a:latin typeface="Montserrat Medium"/>
                <a:ea typeface="Open Sans Light" panose="020B0306030504020204" pitchFamily="34" charset="0"/>
                <a:cs typeface="Mukta ExtraLight" panose="020B0000000000000000" pitchFamily="34" charset="77"/>
              </a:rPr>
              <a:t>Our new commissioning model will help schools utilize their own financial resources to commission the best behaviour specialists, medical professionals, psychologists, counsellors to meet diverse student needs. </a:t>
            </a:r>
          </a:p>
        </p:txBody>
      </p:sp>
      <p:sp>
        <p:nvSpPr>
          <p:cNvPr id="30" name="TextBox 29">
            <a:extLst>
              <a:ext uri="{FF2B5EF4-FFF2-40B4-BE49-F238E27FC236}">
                <a16:creationId xmlns:a16="http://schemas.microsoft.com/office/drawing/2014/main" id="{C360A542-35EB-104E-B255-ED98099E1570}"/>
              </a:ext>
            </a:extLst>
          </p:cNvPr>
          <p:cNvSpPr txBox="1"/>
          <p:nvPr/>
        </p:nvSpPr>
        <p:spPr>
          <a:xfrm>
            <a:off x="6558639" y="2034694"/>
            <a:ext cx="1454244" cy="276999"/>
          </a:xfrm>
          <a:prstGeom prst="rect">
            <a:avLst/>
          </a:prstGeom>
          <a:noFill/>
        </p:spPr>
        <p:txBody>
          <a:bodyPr wrap="none" rtlCol="0" anchor="ctr" anchorCtr="0">
            <a:spAutoFit/>
          </a:bodyPr>
          <a:lstStyle/>
          <a:p>
            <a:pPr marL="0" marR="0" lvl="0" indent="0" algn="ctr" defTabSz="6858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F1E18"/>
                </a:solidFill>
                <a:effectLst/>
                <a:uLnTx/>
                <a:uFillTx/>
                <a:latin typeface="Montserrat SemiBold"/>
                <a:ea typeface="League Spartan" charset="0"/>
                <a:cs typeface="Poppins" pitchFamily="2" charset="77"/>
              </a:rPr>
              <a:t>CHECK LISTS </a:t>
            </a:r>
            <a:r>
              <a:rPr kumimoji="0" lang="en-US" sz="1200" b="1" i="0" u="none" strike="noStrike" kern="1200" cap="none" spc="0" normalizeH="0" baseline="0" noProof="0" dirty="0">
                <a:ln>
                  <a:noFill/>
                </a:ln>
                <a:solidFill>
                  <a:srgbClr val="FFFFFF"/>
                </a:solidFill>
                <a:effectLst/>
                <a:uLnTx/>
                <a:uFillTx/>
                <a:latin typeface="Montserrat SemiBold"/>
                <a:ea typeface="League Spartan" charset="0"/>
                <a:cs typeface="Poppins" pitchFamily="2" charset="77"/>
              </a:rPr>
              <a:t>03</a:t>
            </a:r>
          </a:p>
        </p:txBody>
      </p:sp>
      <p:sp>
        <p:nvSpPr>
          <p:cNvPr id="31" name="Subtitle 2">
            <a:extLst>
              <a:ext uri="{FF2B5EF4-FFF2-40B4-BE49-F238E27FC236}">
                <a16:creationId xmlns:a16="http://schemas.microsoft.com/office/drawing/2014/main" id="{2F322C71-4AEC-4D4B-870D-1F2E1D351531}"/>
              </a:ext>
            </a:extLst>
          </p:cNvPr>
          <p:cNvSpPr txBox="1">
            <a:spLocks/>
          </p:cNvSpPr>
          <p:nvPr/>
        </p:nvSpPr>
        <p:spPr>
          <a:xfrm>
            <a:off x="6229052" y="2517227"/>
            <a:ext cx="2266432"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407972" rtl="0" eaLnBrk="1" fontAlgn="auto" latinLnBrk="0" hangingPunct="1">
              <a:lnSpc>
                <a:spcPct val="100000"/>
              </a:lnSpc>
              <a:spcBef>
                <a:spcPts val="0"/>
              </a:spcBef>
              <a:spcAft>
                <a:spcPts val="0"/>
              </a:spcAft>
              <a:buClrTx/>
              <a:buSzTx/>
              <a:buFont typeface="Arial"/>
              <a:buNone/>
              <a:tabLst/>
              <a:defRPr/>
            </a:pPr>
            <a:r>
              <a:rPr kumimoji="0" lang="en-US" sz="1000" b="0" i="0" u="none" strike="noStrike" kern="1200" cap="none" spc="0" normalizeH="0" baseline="0" noProof="0" dirty="0">
                <a:ln>
                  <a:noFill/>
                </a:ln>
                <a:solidFill>
                  <a:srgbClr val="2F1E18"/>
                </a:solidFill>
                <a:effectLst/>
                <a:uLnTx/>
                <a:uFillTx/>
                <a:latin typeface="Montserrat Medium"/>
                <a:ea typeface="Open Sans Light" panose="020B0306030504020204" pitchFamily="34" charset="0"/>
                <a:cs typeface="Mukta ExtraLight" panose="020B0000000000000000" pitchFamily="34" charset="77"/>
              </a:rPr>
              <a:t>We will provide check lists to streamline practices across schools and support staff with consistent advice on how to manage behaviour and access further support.</a:t>
            </a:r>
          </a:p>
        </p:txBody>
      </p:sp>
      <p:sp>
        <p:nvSpPr>
          <p:cNvPr id="28" name="Rectangle 27"/>
          <p:cNvSpPr/>
          <p:nvPr/>
        </p:nvSpPr>
        <p:spPr>
          <a:xfrm>
            <a:off x="8267932" y="137644"/>
            <a:ext cx="722376" cy="2651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FFFFFF"/>
                </a:solidFill>
                <a:effectLst/>
                <a:uLnTx/>
                <a:uFillTx/>
                <a:latin typeface="Montserrat Medium"/>
                <a:ea typeface="+mn-ea"/>
                <a:cs typeface="+mn-cs"/>
              </a:rPr>
              <a:t>DRAFT</a:t>
            </a:r>
          </a:p>
        </p:txBody>
      </p:sp>
    </p:spTree>
    <p:extLst>
      <p:ext uri="{BB962C8B-B14F-4D97-AF65-F5344CB8AC3E}">
        <p14:creationId xmlns:p14="http://schemas.microsoft.com/office/powerpoint/2010/main" val="297187579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hape 12617">
            <a:extLst>
              <a:ext uri="{FF2B5EF4-FFF2-40B4-BE49-F238E27FC236}">
                <a16:creationId xmlns:a16="http://schemas.microsoft.com/office/drawing/2014/main" id="{4964022D-7C39-7940-B521-7A052A466EA3}"/>
              </a:ext>
            </a:extLst>
          </p:cNvPr>
          <p:cNvSpPr/>
          <p:nvPr/>
        </p:nvSpPr>
        <p:spPr>
          <a:xfrm rot="5400000">
            <a:off x="1545581" y="1384978"/>
            <a:ext cx="1164932" cy="1443042"/>
          </a:xfrm>
          <a:prstGeom prst="rightArrow">
            <a:avLst>
              <a:gd name="adj1" fmla="val 72859"/>
              <a:gd name="adj2" fmla="val 53567"/>
            </a:avLst>
          </a:prstGeom>
          <a:solidFill>
            <a:schemeClr val="accent2"/>
          </a:solidFill>
          <a:ln w="12700" cap="flat">
            <a:noFill/>
            <a:miter lim="400000"/>
          </a:ln>
          <a:effectLst/>
        </p:spPr>
        <p:txBody>
          <a:bodyPr wrap="square" lIns="0" tIns="0" rIns="0" bIns="0" numCol="1" anchor="t">
            <a:noAutofit/>
          </a:bodyPr>
          <a:lstStyle/>
          <a:p>
            <a:pPr marL="0" marR="0" lvl="0" indent="0" algn="l" defTabSz="514385" rtl="0" eaLnBrk="1" fontAlgn="auto" latinLnBrk="0" hangingPunct="1">
              <a:lnSpc>
                <a:spcPct val="100000"/>
              </a:lnSpc>
              <a:spcBef>
                <a:spcPts val="0"/>
              </a:spcBef>
              <a:spcAft>
                <a:spcPts val="0"/>
              </a:spcAft>
              <a:buClrTx/>
              <a:buSzTx/>
              <a:buFontTx/>
              <a:buNone/>
              <a:tabLst/>
              <a:defRPr/>
            </a:pPr>
            <a:endParaRPr kumimoji="0" sz="1424" b="0" i="0" u="none" strike="noStrike" kern="1200" cap="none" spc="0" normalizeH="0" baseline="0" noProof="0" dirty="0">
              <a:ln>
                <a:noFill/>
              </a:ln>
              <a:solidFill>
                <a:srgbClr val="424242"/>
              </a:solidFill>
              <a:effectLst/>
              <a:uLnTx/>
              <a:uFillTx/>
              <a:latin typeface="Lato Light" panose="020F0502020204030203" pitchFamily="34" charset="0"/>
              <a:ea typeface="+mn-ea"/>
              <a:cs typeface="+mn-cs"/>
            </a:endParaRPr>
          </a:p>
        </p:txBody>
      </p:sp>
      <p:sp>
        <p:nvSpPr>
          <p:cNvPr id="35" name="Shape 12624">
            <a:extLst>
              <a:ext uri="{FF2B5EF4-FFF2-40B4-BE49-F238E27FC236}">
                <a16:creationId xmlns:a16="http://schemas.microsoft.com/office/drawing/2014/main" id="{C2965C50-D70E-244B-9648-822032FB25F2}"/>
              </a:ext>
            </a:extLst>
          </p:cNvPr>
          <p:cNvSpPr/>
          <p:nvPr/>
        </p:nvSpPr>
        <p:spPr>
          <a:xfrm rot="5400000">
            <a:off x="3998267" y="1385755"/>
            <a:ext cx="1164932" cy="1443040"/>
          </a:xfrm>
          <a:prstGeom prst="rightArrow">
            <a:avLst>
              <a:gd name="adj1" fmla="val 72859"/>
              <a:gd name="adj2" fmla="val 53567"/>
            </a:avLst>
          </a:prstGeom>
          <a:solidFill>
            <a:schemeClr val="bg2">
              <a:lumMod val="50000"/>
            </a:schemeClr>
          </a:solidFill>
          <a:ln w="12700" cap="flat">
            <a:noFill/>
            <a:miter lim="400000"/>
          </a:ln>
          <a:effectLst/>
        </p:spPr>
        <p:txBody>
          <a:bodyPr wrap="square" lIns="0" tIns="0" rIns="0" bIns="0" numCol="1" anchor="t">
            <a:noAutofit/>
          </a:bodyPr>
          <a:lstStyle/>
          <a:p>
            <a:pPr marL="0" marR="0" lvl="0" indent="0" algn="l" defTabSz="514385" rtl="0" eaLnBrk="1" fontAlgn="auto" latinLnBrk="0" hangingPunct="1">
              <a:lnSpc>
                <a:spcPct val="100000"/>
              </a:lnSpc>
              <a:spcBef>
                <a:spcPts val="0"/>
              </a:spcBef>
              <a:spcAft>
                <a:spcPts val="0"/>
              </a:spcAft>
              <a:buClrTx/>
              <a:buSzTx/>
              <a:buFontTx/>
              <a:buNone/>
              <a:tabLst/>
              <a:defRPr/>
            </a:pPr>
            <a:endParaRPr kumimoji="0" sz="1424" b="0" i="0" u="none" strike="noStrike" kern="1200" cap="none" spc="0" normalizeH="0" baseline="0" noProof="0" dirty="0">
              <a:ln>
                <a:noFill/>
              </a:ln>
              <a:solidFill>
                <a:srgbClr val="424242"/>
              </a:solidFill>
              <a:effectLst/>
              <a:uLnTx/>
              <a:uFillTx/>
              <a:latin typeface="Lato Light" panose="020F0502020204030203" pitchFamily="34" charset="0"/>
              <a:ea typeface="+mn-ea"/>
              <a:cs typeface="+mn-cs"/>
            </a:endParaRPr>
          </a:p>
        </p:txBody>
      </p:sp>
      <p:sp>
        <p:nvSpPr>
          <p:cNvPr id="29" name="Shape 12631">
            <a:extLst>
              <a:ext uri="{FF2B5EF4-FFF2-40B4-BE49-F238E27FC236}">
                <a16:creationId xmlns:a16="http://schemas.microsoft.com/office/drawing/2014/main" id="{15BBAF3E-B3C0-0140-B891-28E5CA677BD3}"/>
              </a:ext>
            </a:extLst>
          </p:cNvPr>
          <p:cNvSpPr/>
          <p:nvPr/>
        </p:nvSpPr>
        <p:spPr>
          <a:xfrm rot="5400000">
            <a:off x="6519453" y="1422820"/>
            <a:ext cx="1164932" cy="1443040"/>
          </a:xfrm>
          <a:prstGeom prst="rightArrow">
            <a:avLst>
              <a:gd name="adj1" fmla="val 72859"/>
              <a:gd name="adj2" fmla="val 53567"/>
            </a:avLst>
          </a:prstGeom>
          <a:solidFill>
            <a:schemeClr val="tx2">
              <a:lumMod val="90000"/>
              <a:lumOff val="10000"/>
            </a:schemeClr>
          </a:solidFill>
          <a:ln w="12700" cap="flat">
            <a:noFill/>
            <a:miter lim="400000"/>
          </a:ln>
          <a:effectLst/>
        </p:spPr>
        <p:txBody>
          <a:bodyPr wrap="square" lIns="0" tIns="0" rIns="0" bIns="0" numCol="1" anchor="t">
            <a:noAutofit/>
          </a:bodyPr>
          <a:lstStyle/>
          <a:p>
            <a:pPr marL="0" marR="0" lvl="0" indent="0" algn="l" defTabSz="514385" rtl="0" eaLnBrk="1" fontAlgn="auto" latinLnBrk="0" hangingPunct="1">
              <a:lnSpc>
                <a:spcPct val="100000"/>
              </a:lnSpc>
              <a:spcBef>
                <a:spcPts val="0"/>
              </a:spcBef>
              <a:spcAft>
                <a:spcPts val="0"/>
              </a:spcAft>
              <a:buClrTx/>
              <a:buSzTx/>
              <a:buFontTx/>
              <a:buNone/>
              <a:tabLst/>
              <a:defRPr/>
            </a:pPr>
            <a:endParaRPr kumimoji="0" sz="1424" b="0" i="0" u="none" strike="noStrike" kern="1200" cap="none" spc="0" normalizeH="0" baseline="0" noProof="0" dirty="0">
              <a:ln>
                <a:noFill/>
              </a:ln>
              <a:solidFill>
                <a:srgbClr val="424242"/>
              </a:solidFill>
              <a:effectLst/>
              <a:uLnTx/>
              <a:uFillTx/>
              <a:latin typeface="Lato Light" panose="020F0502020204030203" pitchFamily="34" charset="0"/>
              <a:ea typeface="+mn-ea"/>
              <a:cs typeface="+mn-cs"/>
            </a:endParaRPr>
          </a:p>
        </p:txBody>
      </p:sp>
      <p:sp>
        <p:nvSpPr>
          <p:cNvPr id="9" name="Shape 12658">
            <a:extLst>
              <a:ext uri="{FF2B5EF4-FFF2-40B4-BE49-F238E27FC236}">
                <a16:creationId xmlns:a16="http://schemas.microsoft.com/office/drawing/2014/main" id="{3B6926D5-C698-3B44-B117-5C436F95EAFD}"/>
              </a:ext>
            </a:extLst>
          </p:cNvPr>
          <p:cNvSpPr/>
          <p:nvPr/>
        </p:nvSpPr>
        <p:spPr>
          <a:xfrm>
            <a:off x="5437348" y="1799566"/>
            <a:ext cx="838601" cy="153278"/>
          </a:xfrm>
          <a:custGeom>
            <a:avLst/>
            <a:gdLst/>
            <a:ahLst/>
            <a:cxnLst>
              <a:cxn ang="0">
                <a:pos x="wd2" y="hd2"/>
              </a:cxn>
              <a:cxn ang="5400000">
                <a:pos x="wd2" y="hd2"/>
              </a:cxn>
              <a:cxn ang="10800000">
                <a:pos x="wd2" y="hd2"/>
              </a:cxn>
              <a:cxn ang="16200000">
                <a:pos x="wd2" y="hd2"/>
              </a:cxn>
            </a:cxnLst>
            <a:rect l="0" t="0" r="r" b="b"/>
            <a:pathLst>
              <a:path w="21600" h="16204" extrusionOk="0">
                <a:moveTo>
                  <a:pt x="0" y="15205"/>
                </a:moveTo>
                <a:cubicBezTo>
                  <a:pt x="7544" y="-5396"/>
                  <a:pt x="14744" y="-5063"/>
                  <a:pt x="21600" y="16204"/>
                </a:cubicBezTo>
              </a:path>
            </a:pathLst>
          </a:custGeom>
          <a:noFill/>
          <a:ln w="38100" cap="flat">
            <a:solidFill>
              <a:schemeClr val="bg1">
                <a:lumMod val="85000"/>
              </a:schemeClr>
            </a:solidFill>
            <a:prstDash val="solid"/>
            <a:miter lim="400000"/>
            <a:tailEnd type="stealth" w="med" len="med"/>
          </a:ln>
          <a:effectLst/>
        </p:spPr>
        <p:txBody>
          <a:bodyPr/>
          <a:lstStyle/>
          <a:p>
            <a:pPr marL="0" marR="0" lvl="0" indent="0" algn="l" defTabSz="514385" rtl="0" eaLnBrk="1" fontAlgn="auto" latinLnBrk="0" hangingPunct="1">
              <a:lnSpc>
                <a:spcPct val="100000"/>
              </a:lnSpc>
              <a:spcBef>
                <a:spcPts val="0"/>
              </a:spcBef>
              <a:spcAft>
                <a:spcPts val="0"/>
              </a:spcAft>
              <a:buClrTx/>
              <a:buSzTx/>
              <a:buFontTx/>
              <a:buNone/>
              <a:tabLst/>
              <a:defRPr/>
            </a:pPr>
            <a:endParaRPr kumimoji="0" sz="1424" b="0" i="0" u="none" strike="noStrike" kern="1200" cap="none" spc="0" normalizeH="0" baseline="0" noProof="0" dirty="0">
              <a:ln>
                <a:noFill/>
              </a:ln>
              <a:solidFill>
                <a:srgbClr val="424242"/>
              </a:solidFill>
              <a:effectLst/>
              <a:uLnTx/>
              <a:uFillTx/>
              <a:latin typeface="Lato Light" panose="020F0502020204030203" pitchFamily="34" charset="0"/>
              <a:ea typeface="+mn-ea"/>
              <a:cs typeface="+mn-cs"/>
            </a:endParaRPr>
          </a:p>
        </p:txBody>
      </p:sp>
      <p:sp>
        <p:nvSpPr>
          <p:cNvPr id="12" name="Shape 12661">
            <a:extLst>
              <a:ext uri="{FF2B5EF4-FFF2-40B4-BE49-F238E27FC236}">
                <a16:creationId xmlns:a16="http://schemas.microsoft.com/office/drawing/2014/main" id="{DDBA9271-704F-A249-9551-3AAA362B90FA}"/>
              </a:ext>
            </a:extLst>
          </p:cNvPr>
          <p:cNvSpPr/>
          <p:nvPr/>
        </p:nvSpPr>
        <p:spPr>
          <a:xfrm>
            <a:off x="2971509" y="1768594"/>
            <a:ext cx="838601" cy="153278"/>
          </a:xfrm>
          <a:custGeom>
            <a:avLst/>
            <a:gdLst/>
            <a:ahLst/>
            <a:cxnLst>
              <a:cxn ang="0">
                <a:pos x="wd2" y="hd2"/>
              </a:cxn>
              <a:cxn ang="5400000">
                <a:pos x="wd2" y="hd2"/>
              </a:cxn>
              <a:cxn ang="10800000">
                <a:pos x="wd2" y="hd2"/>
              </a:cxn>
              <a:cxn ang="16200000">
                <a:pos x="wd2" y="hd2"/>
              </a:cxn>
            </a:cxnLst>
            <a:rect l="0" t="0" r="r" b="b"/>
            <a:pathLst>
              <a:path w="21600" h="16204" extrusionOk="0">
                <a:moveTo>
                  <a:pt x="0" y="15205"/>
                </a:moveTo>
                <a:cubicBezTo>
                  <a:pt x="7544" y="-5396"/>
                  <a:pt x="14744" y="-5063"/>
                  <a:pt x="21600" y="16204"/>
                </a:cubicBezTo>
              </a:path>
            </a:pathLst>
          </a:custGeom>
          <a:noFill/>
          <a:ln w="38100" cap="flat">
            <a:solidFill>
              <a:schemeClr val="bg1">
                <a:lumMod val="85000"/>
              </a:schemeClr>
            </a:solidFill>
            <a:prstDash val="solid"/>
            <a:miter lim="400000"/>
            <a:tailEnd type="stealth" w="med" len="med"/>
          </a:ln>
          <a:effectLst/>
        </p:spPr>
        <p:txBody>
          <a:bodyPr/>
          <a:lstStyle/>
          <a:p>
            <a:pPr marL="0" marR="0" lvl="0" indent="0" algn="l" defTabSz="514385" rtl="0" eaLnBrk="1" fontAlgn="auto" latinLnBrk="0" hangingPunct="1">
              <a:lnSpc>
                <a:spcPct val="100000"/>
              </a:lnSpc>
              <a:spcBef>
                <a:spcPts val="0"/>
              </a:spcBef>
              <a:spcAft>
                <a:spcPts val="0"/>
              </a:spcAft>
              <a:buClrTx/>
              <a:buSzTx/>
              <a:buFontTx/>
              <a:buNone/>
              <a:tabLst/>
              <a:defRPr/>
            </a:pPr>
            <a:endParaRPr kumimoji="0" sz="1424" b="0" i="0" u="none" strike="noStrike" kern="1200" cap="none" spc="0" normalizeH="0" baseline="0" noProof="0" dirty="0">
              <a:ln>
                <a:noFill/>
              </a:ln>
              <a:solidFill>
                <a:srgbClr val="424242"/>
              </a:solidFill>
              <a:effectLst/>
              <a:uLnTx/>
              <a:uFillTx/>
              <a:latin typeface="Lato Light" panose="020F0502020204030203" pitchFamily="34" charset="0"/>
              <a:ea typeface="+mn-ea"/>
              <a:cs typeface="+mn-cs"/>
            </a:endParaRPr>
          </a:p>
        </p:txBody>
      </p:sp>
      <p:sp>
        <p:nvSpPr>
          <p:cNvPr id="44" name="TextBox 43">
            <a:extLst>
              <a:ext uri="{FF2B5EF4-FFF2-40B4-BE49-F238E27FC236}">
                <a16:creationId xmlns:a16="http://schemas.microsoft.com/office/drawing/2014/main" id="{DA8A51B2-3FCA-9849-B9AE-A03792B4BAB2}"/>
              </a:ext>
            </a:extLst>
          </p:cNvPr>
          <p:cNvSpPr txBox="1"/>
          <p:nvPr/>
        </p:nvSpPr>
        <p:spPr>
          <a:xfrm>
            <a:off x="66502" y="798722"/>
            <a:ext cx="8909661" cy="584775"/>
          </a:xfrm>
          <a:prstGeom prst="rect">
            <a:avLst/>
          </a:prstGeom>
          <a:noFill/>
        </p:spPr>
        <p:txBody>
          <a:bodyPr wrap="square" rtlCol="0">
            <a:spAutoFit/>
          </a:bodyPr>
          <a:lstStyle/>
          <a:p>
            <a:pPr marL="0" marR="0" lvl="0" indent="0" defTabSz="5143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85" normalizeH="0" baseline="0" noProof="0" dirty="0">
                <a:ln>
                  <a:noFill/>
                </a:ln>
                <a:solidFill>
                  <a:srgbClr val="D70C3D"/>
                </a:solidFill>
                <a:effectLst/>
                <a:uLnTx/>
                <a:uFillTx/>
                <a:latin typeface="Montserrat SemiBold"/>
                <a:ea typeface="+mn-ea"/>
                <a:cs typeface="Poppins Light" pitchFamily="2" charset="77"/>
              </a:rPr>
              <a:t>Schools will receive</a:t>
            </a:r>
            <a:r>
              <a:rPr kumimoji="0" lang="en-US" sz="1600" b="1" i="0" u="none" strike="noStrike" kern="1200" cap="none" spc="85" normalizeH="0" noProof="0" dirty="0">
                <a:ln>
                  <a:noFill/>
                </a:ln>
                <a:solidFill>
                  <a:srgbClr val="D70C3D"/>
                </a:solidFill>
                <a:effectLst/>
                <a:uLnTx/>
                <a:uFillTx/>
                <a:latin typeface="Montserrat SemiBold"/>
                <a:ea typeface="+mn-ea"/>
                <a:cs typeface="Poppins Light" pitchFamily="2" charset="77"/>
              </a:rPr>
              <a:t> workforce support &amp; PL to implement </a:t>
            </a:r>
            <a:r>
              <a:rPr kumimoji="0" lang="en-US" sz="1600" b="1" i="0" u="none" strike="noStrike" kern="1200" cap="none" spc="85" normalizeH="0" baseline="0" noProof="0" dirty="0">
                <a:ln>
                  <a:noFill/>
                </a:ln>
                <a:solidFill>
                  <a:srgbClr val="D70C3D"/>
                </a:solidFill>
                <a:effectLst/>
                <a:uLnTx/>
                <a:uFillTx/>
                <a:latin typeface="Montserrat SemiBold"/>
                <a:ea typeface="+mn-ea"/>
                <a:cs typeface="Poppins Light" pitchFamily="2" charset="77"/>
              </a:rPr>
              <a:t>the changes</a:t>
            </a:r>
            <a:r>
              <a:rPr kumimoji="0" lang="en-US" sz="1600" b="1" i="0" u="none" strike="noStrike" kern="1200" cap="none" spc="85" normalizeH="0" noProof="0" dirty="0">
                <a:ln>
                  <a:noFill/>
                </a:ln>
                <a:solidFill>
                  <a:srgbClr val="D70C3D"/>
                </a:solidFill>
                <a:effectLst/>
                <a:uLnTx/>
                <a:uFillTx/>
                <a:latin typeface="Montserrat SemiBold"/>
                <a:ea typeface="+mn-ea"/>
                <a:cs typeface="Poppins Light" pitchFamily="2" charset="77"/>
              </a:rPr>
              <a:t> and our work will </a:t>
            </a:r>
            <a:r>
              <a:rPr kumimoji="0" lang="en-US" sz="1600" b="1" i="0" u="none" strike="noStrike" kern="1200" cap="none" spc="85" normalizeH="0" baseline="0" noProof="0" dirty="0">
                <a:ln>
                  <a:noFill/>
                </a:ln>
                <a:solidFill>
                  <a:srgbClr val="D70C3D"/>
                </a:solidFill>
                <a:effectLst/>
                <a:uLnTx/>
                <a:uFillTx/>
                <a:latin typeface="Montserrat SemiBold"/>
                <a:ea typeface="+mn-ea"/>
                <a:cs typeface="Poppins Light" pitchFamily="2" charset="77"/>
              </a:rPr>
              <a:t>be adapted to meet school level</a:t>
            </a:r>
            <a:r>
              <a:rPr kumimoji="0" lang="en-US" sz="1600" b="1" i="0" u="none" strike="noStrike" kern="1200" cap="none" spc="85" normalizeH="0" noProof="0" dirty="0">
                <a:ln>
                  <a:noFill/>
                </a:ln>
                <a:solidFill>
                  <a:srgbClr val="D70C3D"/>
                </a:solidFill>
                <a:effectLst/>
                <a:uLnTx/>
                <a:uFillTx/>
                <a:latin typeface="Montserrat SemiBold"/>
                <a:ea typeface="+mn-ea"/>
                <a:cs typeface="Poppins Light" pitchFamily="2" charset="77"/>
              </a:rPr>
              <a:t> </a:t>
            </a:r>
            <a:r>
              <a:rPr kumimoji="0" lang="en-US" sz="1600" b="1" i="0" u="none" strike="noStrike" kern="1200" cap="none" spc="85" normalizeH="0" baseline="0" noProof="0" dirty="0">
                <a:ln>
                  <a:noFill/>
                </a:ln>
                <a:solidFill>
                  <a:srgbClr val="D70C3D"/>
                </a:solidFill>
                <a:effectLst/>
                <a:uLnTx/>
                <a:uFillTx/>
                <a:latin typeface="Montserrat SemiBold"/>
                <a:ea typeface="+mn-ea"/>
                <a:cs typeface="Poppins Light" pitchFamily="2" charset="77"/>
              </a:rPr>
              <a:t>requirements</a:t>
            </a:r>
          </a:p>
        </p:txBody>
      </p:sp>
      <p:sp>
        <p:nvSpPr>
          <p:cNvPr id="45" name="Freeform 945">
            <a:extLst>
              <a:ext uri="{FF2B5EF4-FFF2-40B4-BE49-F238E27FC236}">
                <a16:creationId xmlns:a16="http://schemas.microsoft.com/office/drawing/2014/main" id="{18939B82-0A8A-CA40-AA34-BEB4C7D5A63E}"/>
              </a:ext>
            </a:extLst>
          </p:cNvPr>
          <p:cNvSpPr>
            <a:spLocks noChangeArrowheads="1"/>
          </p:cNvSpPr>
          <p:nvPr/>
        </p:nvSpPr>
        <p:spPr bwMode="auto">
          <a:xfrm>
            <a:off x="4420828" y="2020098"/>
            <a:ext cx="319809" cy="382402"/>
          </a:xfrm>
          <a:custGeom>
            <a:avLst/>
            <a:gdLst>
              <a:gd name="T0" fmla="*/ 38049 w 258044"/>
              <a:gd name="T1" fmla="*/ 192028 h 294045"/>
              <a:gd name="T2" fmla="*/ 62550 w 258044"/>
              <a:gd name="T3" fmla="*/ 216796 h 294045"/>
              <a:gd name="T4" fmla="*/ 71651 w 258044"/>
              <a:gd name="T5" fmla="*/ 182829 h 294045"/>
              <a:gd name="T6" fmla="*/ 52050 w 258044"/>
              <a:gd name="T7" fmla="*/ 168322 h 294045"/>
              <a:gd name="T8" fmla="*/ 79351 w 258044"/>
              <a:gd name="T9" fmla="*/ 178229 h 294045"/>
              <a:gd name="T10" fmla="*/ 84601 w 258044"/>
              <a:gd name="T11" fmla="*/ 206889 h 294045"/>
              <a:gd name="T12" fmla="*/ 63950 w 258044"/>
              <a:gd name="T13" fmla="*/ 225996 h 294045"/>
              <a:gd name="T14" fmla="*/ 38398 w 258044"/>
              <a:gd name="T15" fmla="*/ 219272 h 294045"/>
              <a:gd name="T16" fmla="*/ 29298 w 258044"/>
              <a:gd name="T17" fmla="*/ 191673 h 294045"/>
              <a:gd name="T18" fmla="*/ 47849 w 258044"/>
              <a:gd name="T19" fmla="*/ 169737 h 294045"/>
              <a:gd name="T20" fmla="*/ 201981 w 258044"/>
              <a:gd name="T21" fmla="*/ 123787 h 294045"/>
              <a:gd name="T22" fmla="*/ 126469 w 258044"/>
              <a:gd name="T23" fmla="*/ 208637 h 294045"/>
              <a:gd name="T24" fmla="*/ 126469 w 258044"/>
              <a:gd name="T25" fmla="*/ 200117 h 294045"/>
              <a:gd name="T26" fmla="*/ 201981 w 258044"/>
              <a:gd name="T27" fmla="*/ 123787 h 294045"/>
              <a:gd name="T28" fmla="*/ 237745 w 258044"/>
              <a:gd name="T29" fmla="*/ 93882 h 294045"/>
              <a:gd name="T30" fmla="*/ 111797 w 258044"/>
              <a:gd name="T31" fmla="*/ 190208 h 294045"/>
              <a:gd name="T32" fmla="*/ 90571 w 258044"/>
              <a:gd name="T33" fmla="*/ 242130 h 294045"/>
              <a:gd name="T34" fmla="*/ 191753 w 258044"/>
              <a:gd name="T35" fmla="*/ 228165 h 294045"/>
              <a:gd name="T36" fmla="*/ 244822 w 258044"/>
              <a:gd name="T37" fmla="*/ 277223 h 294045"/>
              <a:gd name="T38" fmla="*/ 239161 w 258044"/>
              <a:gd name="T39" fmla="*/ 92093 h 294045"/>
              <a:gd name="T40" fmla="*/ 129708 w 258044"/>
              <a:gd name="T41" fmla="*/ 52308 h 294045"/>
              <a:gd name="T42" fmla="*/ 54197 w 258044"/>
              <a:gd name="T43" fmla="*/ 128283 h 294045"/>
              <a:gd name="T44" fmla="*/ 45767 w 258044"/>
              <a:gd name="T45" fmla="*/ 128283 h 294045"/>
              <a:gd name="T46" fmla="*/ 206966 w 258044"/>
              <a:gd name="T47" fmla="*/ 9731 h 294045"/>
              <a:gd name="T48" fmla="*/ 154605 w 258044"/>
              <a:gd name="T49" fmla="*/ 63447 h 294045"/>
              <a:gd name="T50" fmla="*/ 112830 w 258044"/>
              <a:gd name="T51" fmla="*/ 108594 h 294045"/>
              <a:gd name="T52" fmla="*/ 66512 w 258044"/>
              <a:gd name="T53" fmla="*/ 152966 h 294045"/>
              <a:gd name="T54" fmla="*/ 25473 w 258044"/>
              <a:gd name="T55" fmla="*/ 165499 h 294045"/>
              <a:gd name="T56" fmla="*/ 90216 w 258044"/>
              <a:gd name="T57" fmla="*/ 231029 h 294045"/>
              <a:gd name="T58" fmla="*/ 103660 w 258044"/>
              <a:gd name="T59" fmla="*/ 185553 h 294045"/>
              <a:gd name="T60" fmla="*/ 190691 w 258044"/>
              <a:gd name="T61" fmla="*/ 100329 h 294045"/>
              <a:gd name="T62" fmla="*/ 232476 w 258044"/>
              <a:gd name="T63" fmla="*/ 85965 h 294045"/>
              <a:gd name="T64" fmla="*/ 244114 w 258044"/>
              <a:gd name="T65" fmla="*/ 47329 h 294045"/>
              <a:gd name="T66" fmla="*/ 209088 w 258044"/>
              <a:gd name="T67" fmla="*/ 79559 h 294045"/>
              <a:gd name="T68" fmla="*/ 181493 w 258044"/>
              <a:gd name="T69" fmla="*/ 69892 h 294045"/>
              <a:gd name="T70" fmla="*/ 176188 w 258044"/>
              <a:gd name="T71" fmla="*/ 40885 h 294045"/>
              <a:gd name="T72" fmla="*/ 126657 w 258044"/>
              <a:gd name="T73" fmla="*/ 9016 h 294045"/>
              <a:gd name="T74" fmla="*/ 14505 w 258044"/>
              <a:gd name="T75" fmla="*/ 164783 h 294045"/>
              <a:gd name="T76" fmla="*/ 65451 w 258044"/>
              <a:gd name="T77" fmla="*/ 143657 h 294045"/>
              <a:gd name="T78" fmla="*/ 145407 w 258044"/>
              <a:gd name="T79" fmla="*/ 63086 h 294045"/>
              <a:gd name="T80" fmla="*/ 162389 w 258044"/>
              <a:gd name="T81" fmla="*/ 14745 h 294045"/>
              <a:gd name="T82" fmla="*/ 126657 w 258044"/>
              <a:gd name="T83" fmla="*/ 64 h 294045"/>
              <a:gd name="T84" fmla="*/ 216872 w 258044"/>
              <a:gd name="T85" fmla="*/ 2926 h 294045"/>
              <a:gd name="T86" fmla="*/ 218641 w 258044"/>
              <a:gd name="T87" fmla="*/ 10447 h 294045"/>
              <a:gd name="T88" fmla="*/ 189276 w 258044"/>
              <a:gd name="T89" fmla="*/ 65234 h 294045"/>
              <a:gd name="T90" fmla="*/ 243406 w 258044"/>
              <a:gd name="T91" fmla="*/ 35516 h 294045"/>
              <a:gd name="T92" fmla="*/ 250836 w 258044"/>
              <a:gd name="T93" fmla="*/ 37304 h 294045"/>
              <a:gd name="T94" fmla="*/ 253666 w 258044"/>
              <a:gd name="T95" fmla="*/ 128259 h 294045"/>
              <a:gd name="T96" fmla="*/ 250836 w 258044"/>
              <a:gd name="T97" fmla="*/ 291904 h 294045"/>
              <a:gd name="T98" fmla="*/ 245883 w 258044"/>
              <a:gd name="T99" fmla="*/ 290830 h 294045"/>
              <a:gd name="T100" fmla="*/ 126657 w 258044"/>
              <a:gd name="T101" fmla="*/ 256812 h 294045"/>
              <a:gd name="T102" fmla="*/ 58021 w 258044"/>
              <a:gd name="T103" fmla="*/ 253230 h 294045"/>
              <a:gd name="T104" fmla="*/ 8491 w 258044"/>
              <a:gd name="T105" fmla="*/ 174810 h 294045"/>
              <a:gd name="T106" fmla="*/ 126657 w 258044"/>
              <a:gd name="T107" fmla="*/ 64 h 2940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58044" h="294045">
                <a:moveTo>
                  <a:pt x="52935" y="178604"/>
                </a:moveTo>
                <a:lnTo>
                  <a:pt x="38696" y="193199"/>
                </a:lnTo>
                <a:lnTo>
                  <a:pt x="44035" y="212779"/>
                </a:lnTo>
                <a:lnTo>
                  <a:pt x="63614" y="218118"/>
                </a:lnTo>
                <a:lnTo>
                  <a:pt x="78210" y="203523"/>
                </a:lnTo>
                <a:lnTo>
                  <a:pt x="72870" y="183944"/>
                </a:lnTo>
                <a:lnTo>
                  <a:pt x="52935" y="178604"/>
                </a:lnTo>
                <a:close/>
                <a:moveTo>
                  <a:pt x="52935" y="169348"/>
                </a:moveTo>
                <a:lnTo>
                  <a:pt x="77498" y="176112"/>
                </a:lnTo>
                <a:cubicBezTo>
                  <a:pt x="78922" y="176468"/>
                  <a:pt x="80345" y="177536"/>
                  <a:pt x="80701" y="179316"/>
                </a:cubicBezTo>
                <a:lnTo>
                  <a:pt x="87465" y="203879"/>
                </a:lnTo>
                <a:cubicBezTo>
                  <a:pt x="87465" y="205303"/>
                  <a:pt x="87109" y="207083"/>
                  <a:pt x="86041" y="208151"/>
                </a:cubicBezTo>
                <a:lnTo>
                  <a:pt x="67886" y="226306"/>
                </a:lnTo>
                <a:cubicBezTo>
                  <a:pt x="67174" y="227018"/>
                  <a:pt x="66106" y="227374"/>
                  <a:pt x="65038" y="227374"/>
                </a:cubicBezTo>
                <a:cubicBezTo>
                  <a:pt x="64326" y="227374"/>
                  <a:pt x="64326" y="227018"/>
                  <a:pt x="63970" y="227018"/>
                </a:cubicBezTo>
                <a:lnTo>
                  <a:pt x="39052" y="220610"/>
                </a:lnTo>
                <a:cubicBezTo>
                  <a:pt x="37628" y="220254"/>
                  <a:pt x="36560" y="219186"/>
                  <a:pt x="36204" y="217762"/>
                </a:cubicBezTo>
                <a:lnTo>
                  <a:pt x="29796" y="192843"/>
                </a:lnTo>
                <a:cubicBezTo>
                  <a:pt x="29084" y="191419"/>
                  <a:pt x="29796" y="189639"/>
                  <a:pt x="30508" y="188927"/>
                </a:cubicBezTo>
                <a:lnTo>
                  <a:pt x="48663" y="170772"/>
                </a:lnTo>
                <a:cubicBezTo>
                  <a:pt x="49731" y="169348"/>
                  <a:pt x="51511" y="168992"/>
                  <a:pt x="52935" y="169348"/>
                </a:cubicBezTo>
                <a:close/>
                <a:moveTo>
                  <a:pt x="205416" y="124542"/>
                </a:moveTo>
                <a:cubicBezTo>
                  <a:pt x="207559" y="124542"/>
                  <a:pt x="209702" y="126328"/>
                  <a:pt x="209702" y="128828"/>
                </a:cubicBezTo>
                <a:cubicBezTo>
                  <a:pt x="209702" y="173477"/>
                  <a:pt x="173269" y="209910"/>
                  <a:pt x="128620" y="209910"/>
                </a:cubicBezTo>
                <a:cubicBezTo>
                  <a:pt x="126120" y="209910"/>
                  <a:pt x="124334" y="207767"/>
                  <a:pt x="124334" y="205624"/>
                </a:cubicBezTo>
                <a:cubicBezTo>
                  <a:pt x="124334" y="203123"/>
                  <a:pt x="126120" y="201337"/>
                  <a:pt x="128620" y="201337"/>
                </a:cubicBezTo>
                <a:cubicBezTo>
                  <a:pt x="168625" y="201337"/>
                  <a:pt x="201129" y="168476"/>
                  <a:pt x="201129" y="128828"/>
                </a:cubicBezTo>
                <a:cubicBezTo>
                  <a:pt x="201129" y="126328"/>
                  <a:pt x="202915" y="124542"/>
                  <a:pt x="205416" y="124542"/>
                </a:cubicBezTo>
                <a:close/>
                <a:moveTo>
                  <a:pt x="243229" y="92653"/>
                </a:moveTo>
                <a:cubicBezTo>
                  <a:pt x="242509" y="93374"/>
                  <a:pt x="242149" y="94094"/>
                  <a:pt x="241789" y="94455"/>
                </a:cubicBezTo>
                <a:cubicBezTo>
                  <a:pt x="229196" y="107064"/>
                  <a:pt x="211926" y="112828"/>
                  <a:pt x="194655" y="110307"/>
                </a:cubicBezTo>
                <a:lnTo>
                  <a:pt x="113699" y="191368"/>
                </a:lnTo>
                <a:cubicBezTo>
                  <a:pt x="116217" y="208661"/>
                  <a:pt x="110101" y="226314"/>
                  <a:pt x="97867" y="238563"/>
                </a:cubicBezTo>
                <a:cubicBezTo>
                  <a:pt x="96068" y="240365"/>
                  <a:pt x="94269" y="242166"/>
                  <a:pt x="92111" y="243607"/>
                </a:cubicBezTo>
                <a:cubicBezTo>
                  <a:pt x="103984" y="247210"/>
                  <a:pt x="116217" y="249371"/>
                  <a:pt x="128811" y="249371"/>
                </a:cubicBezTo>
                <a:cubicBezTo>
                  <a:pt x="152558" y="249371"/>
                  <a:pt x="175225" y="242526"/>
                  <a:pt x="195015" y="229556"/>
                </a:cubicBezTo>
                <a:cubicBezTo>
                  <a:pt x="196454" y="228476"/>
                  <a:pt x="198973" y="228476"/>
                  <a:pt x="200772" y="230277"/>
                </a:cubicBezTo>
                <a:lnTo>
                  <a:pt x="248986" y="278914"/>
                </a:lnTo>
                <a:lnTo>
                  <a:pt x="248986" y="129041"/>
                </a:lnTo>
                <a:cubicBezTo>
                  <a:pt x="248986" y="116791"/>
                  <a:pt x="246827" y="104542"/>
                  <a:pt x="243229" y="92653"/>
                </a:cubicBezTo>
                <a:close/>
                <a:moveTo>
                  <a:pt x="127270" y="48342"/>
                </a:moveTo>
                <a:cubicBezTo>
                  <a:pt x="130128" y="48342"/>
                  <a:pt x="131914" y="50128"/>
                  <a:pt x="131914" y="52628"/>
                </a:cubicBezTo>
                <a:cubicBezTo>
                  <a:pt x="131914" y="55128"/>
                  <a:pt x="130128" y="56914"/>
                  <a:pt x="127270" y="56914"/>
                </a:cubicBezTo>
                <a:cubicBezTo>
                  <a:pt x="87623" y="56914"/>
                  <a:pt x="55119" y="89418"/>
                  <a:pt x="55119" y="129066"/>
                </a:cubicBezTo>
                <a:cubicBezTo>
                  <a:pt x="55119" y="131567"/>
                  <a:pt x="53333" y="133710"/>
                  <a:pt x="50832" y="133710"/>
                </a:cubicBezTo>
                <a:cubicBezTo>
                  <a:pt x="48332" y="133710"/>
                  <a:pt x="46546" y="131567"/>
                  <a:pt x="46546" y="129066"/>
                </a:cubicBezTo>
                <a:cubicBezTo>
                  <a:pt x="46546" y="84418"/>
                  <a:pt x="82622" y="48342"/>
                  <a:pt x="127270" y="48342"/>
                </a:cubicBezTo>
                <a:close/>
                <a:moveTo>
                  <a:pt x="210486" y="9791"/>
                </a:moveTo>
                <a:cubicBezTo>
                  <a:pt x="195734" y="6909"/>
                  <a:pt x="180623" y="11592"/>
                  <a:pt x="169828" y="22761"/>
                </a:cubicBezTo>
                <a:cubicBezTo>
                  <a:pt x="159034" y="33569"/>
                  <a:pt x="153997" y="49061"/>
                  <a:pt x="157235" y="63832"/>
                </a:cubicBezTo>
                <a:cubicBezTo>
                  <a:pt x="157235" y="65633"/>
                  <a:pt x="156875" y="67074"/>
                  <a:pt x="155796" y="68155"/>
                </a:cubicBezTo>
                <a:lnTo>
                  <a:pt x="114749" y="109256"/>
                </a:lnTo>
                <a:lnTo>
                  <a:pt x="71602" y="152458"/>
                </a:lnTo>
                <a:cubicBezTo>
                  <a:pt x="70522" y="153539"/>
                  <a:pt x="69083" y="153899"/>
                  <a:pt x="67644" y="153899"/>
                </a:cubicBezTo>
                <a:cubicBezTo>
                  <a:pt x="64406" y="153539"/>
                  <a:pt x="61527" y="152819"/>
                  <a:pt x="59008" y="152819"/>
                </a:cubicBezTo>
                <a:cubicBezTo>
                  <a:pt x="46415" y="152819"/>
                  <a:pt x="34542" y="157862"/>
                  <a:pt x="25906" y="166509"/>
                </a:cubicBezTo>
                <a:cubicBezTo>
                  <a:pt x="7916" y="184523"/>
                  <a:pt x="7916" y="214065"/>
                  <a:pt x="25906" y="232439"/>
                </a:cubicBezTo>
                <a:cubicBezTo>
                  <a:pt x="43897" y="250452"/>
                  <a:pt x="73401" y="250452"/>
                  <a:pt x="91751" y="232439"/>
                </a:cubicBezTo>
                <a:cubicBezTo>
                  <a:pt x="102545" y="221270"/>
                  <a:pt x="107222" y="206139"/>
                  <a:pt x="104344" y="190647"/>
                </a:cubicBezTo>
                <a:cubicBezTo>
                  <a:pt x="103984" y="189206"/>
                  <a:pt x="104344" y="187765"/>
                  <a:pt x="105423" y="186684"/>
                </a:cubicBezTo>
                <a:lnTo>
                  <a:pt x="189977" y="102381"/>
                </a:lnTo>
                <a:cubicBezTo>
                  <a:pt x="191057" y="101300"/>
                  <a:pt x="192496" y="100940"/>
                  <a:pt x="193935" y="100940"/>
                </a:cubicBezTo>
                <a:cubicBezTo>
                  <a:pt x="209047" y="104182"/>
                  <a:pt x="224519" y="99138"/>
                  <a:pt x="235313" y="88330"/>
                </a:cubicBezTo>
                <a:lnTo>
                  <a:pt x="236431" y="86490"/>
                </a:lnTo>
                <a:lnTo>
                  <a:pt x="246782" y="69461"/>
                </a:lnTo>
                <a:cubicBezTo>
                  <a:pt x="248986" y="62481"/>
                  <a:pt x="249525" y="55005"/>
                  <a:pt x="248266" y="47619"/>
                </a:cubicBezTo>
                <a:lnTo>
                  <a:pt x="216963" y="78963"/>
                </a:lnTo>
                <a:cubicBezTo>
                  <a:pt x="215883" y="80044"/>
                  <a:pt x="214084" y="80404"/>
                  <a:pt x="212645" y="80044"/>
                </a:cubicBezTo>
                <a:lnTo>
                  <a:pt x="187819" y="73559"/>
                </a:lnTo>
                <a:cubicBezTo>
                  <a:pt x="186379" y="72838"/>
                  <a:pt x="184940" y="71758"/>
                  <a:pt x="184580" y="70317"/>
                </a:cubicBezTo>
                <a:lnTo>
                  <a:pt x="178104" y="45458"/>
                </a:lnTo>
                <a:cubicBezTo>
                  <a:pt x="177384" y="44017"/>
                  <a:pt x="178104" y="42215"/>
                  <a:pt x="179183" y="41135"/>
                </a:cubicBezTo>
                <a:lnTo>
                  <a:pt x="210486" y="9791"/>
                </a:lnTo>
                <a:close/>
                <a:moveTo>
                  <a:pt x="128811" y="9071"/>
                </a:moveTo>
                <a:cubicBezTo>
                  <a:pt x="62966" y="9071"/>
                  <a:pt x="8995" y="62751"/>
                  <a:pt x="8995" y="129041"/>
                </a:cubicBezTo>
                <a:cubicBezTo>
                  <a:pt x="8995" y="142010"/>
                  <a:pt x="11154" y="154260"/>
                  <a:pt x="14752" y="165788"/>
                </a:cubicBezTo>
                <a:cubicBezTo>
                  <a:pt x="16192" y="163987"/>
                  <a:pt x="17991" y="162186"/>
                  <a:pt x="19430" y="160384"/>
                </a:cubicBezTo>
                <a:cubicBezTo>
                  <a:pt x="32023" y="147775"/>
                  <a:pt x="49654" y="142010"/>
                  <a:pt x="66564" y="144532"/>
                </a:cubicBezTo>
                <a:lnTo>
                  <a:pt x="98996" y="112203"/>
                </a:lnTo>
                <a:lnTo>
                  <a:pt x="147880" y="63471"/>
                </a:lnTo>
                <a:cubicBezTo>
                  <a:pt x="145362" y="46178"/>
                  <a:pt x="151119" y="28525"/>
                  <a:pt x="163352" y="16276"/>
                </a:cubicBezTo>
                <a:cubicBezTo>
                  <a:pt x="164072" y="15555"/>
                  <a:pt x="164791" y="15195"/>
                  <a:pt x="165151" y="14835"/>
                </a:cubicBezTo>
                <a:cubicBezTo>
                  <a:pt x="153637" y="10872"/>
                  <a:pt x="141404" y="9071"/>
                  <a:pt x="128811" y="9071"/>
                </a:cubicBezTo>
                <a:close/>
                <a:moveTo>
                  <a:pt x="128811" y="64"/>
                </a:moveTo>
                <a:cubicBezTo>
                  <a:pt x="144282" y="64"/>
                  <a:pt x="159394" y="2946"/>
                  <a:pt x="173786" y="8350"/>
                </a:cubicBezTo>
                <a:cubicBezTo>
                  <a:pt x="187819" y="-296"/>
                  <a:pt x="204729" y="-2458"/>
                  <a:pt x="220561" y="2946"/>
                </a:cubicBezTo>
                <a:cubicBezTo>
                  <a:pt x="222360" y="3666"/>
                  <a:pt x="223080" y="4747"/>
                  <a:pt x="223799" y="6188"/>
                </a:cubicBezTo>
                <a:cubicBezTo>
                  <a:pt x="223799" y="7629"/>
                  <a:pt x="223439" y="9071"/>
                  <a:pt x="222360" y="10512"/>
                </a:cubicBezTo>
                <a:lnTo>
                  <a:pt x="187459" y="45458"/>
                </a:lnTo>
                <a:lnTo>
                  <a:pt x="192496" y="65633"/>
                </a:lnTo>
                <a:lnTo>
                  <a:pt x="212645" y="70677"/>
                </a:lnTo>
                <a:lnTo>
                  <a:pt x="247546" y="35731"/>
                </a:lnTo>
                <a:cubicBezTo>
                  <a:pt x="248626" y="34650"/>
                  <a:pt x="250065" y="33929"/>
                  <a:pt x="251864" y="34289"/>
                </a:cubicBezTo>
                <a:cubicBezTo>
                  <a:pt x="253303" y="34650"/>
                  <a:pt x="254383" y="35731"/>
                  <a:pt x="255102" y="37532"/>
                </a:cubicBezTo>
                <a:cubicBezTo>
                  <a:pt x="260499" y="53384"/>
                  <a:pt x="258340" y="70317"/>
                  <a:pt x="249705" y="84007"/>
                </a:cubicBezTo>
                <a:cubicBezTo>
                  <a:pt x="255102" y="98418"/>
                  <a:pt x="257981" y="113549"/>
                  <a:pt x="257981" y="129041"/>
                </a:cubicBezTo>
                <a:lnTo>
                  <a:pt x="257981" y="289722"/>
                </a:lnTo>
                <a:cubicBezTo>
                  <a:pt x="257981" y="291163"/>
                  <a:pt x="256901" y="292964"/>
                  <a:pt x="255102" y="293685"/>
                </a:cubicBezTo>
                <a:cubicBezTo>
                  <a:pt x="254742" y="293685"/>
                  <a:pt x="254023" y="294045"/>
                  <a:pt x="253303" y="294045"/>
                </a:cubicBezTo>
                <a:cubicBezTo>
                  <a:pt x="252584" y="294045"/>
                  <a:pt x="251144" y="293685"/>
                  <a:pt x="250065" y="292604"/>
                </a:cubicBezTo>
                <a:lnTo>
                  <a:pt x="196814" y="238923"/>
                </a:lnTo>
                <a:cubicBezTo>
                  <a:pt x="176305" y="251893"/>
                  <a:pt x="152918" y="258378"/>
                  <a:pt x="128811" y="258378"/>
                </a:cubicBezTo>
                <a:cubicBezTo>
                  <a:pt x="112619" y="258378"/>
                  <a:pt x="96788" y="255136"/>
                  <a:pt x="82396" y="249371"/>
                </a:cubicBezTo>
                <a:cubicBezTo>
                  <a:pt x="75200" y="252974"/>
                  <a:pt x="66924" y="254775"/>
                  <a:pt x="59008" y="254775"/>
                </a:cubicBezTo>
                <a:cubicBezTo>
                  <a:pt x="44616" y="254775"/>
                  <a:pt x="30584" y="249371"/>
                  <a:pt x="19430" y="238563"/>
                </a:cubicBezTo>
                <a:cubicBezTo>
                  <a:pt x="2519" y="221630"/>
                  <a:pt x="-1079" y="196412"/>
                  <a:pt x="8636" y="175876"/>
                </a:cubicBezTo>
                <a:cubicBezTo>
                  <a:pt x="2879" y="161465"/>
                  <a:pt x="0" y="145613"/>
                  <a:pt x="0" y="129041"/>
                </a:cubicBezTo>
                <a:cubicBezTo>
                  <a:pt x="0" y="58067"/>
                  <a:pt x="57569" y="64"/>
                  <a:pt x="128811" y="64"/>
                </a:cubicBezTo>
                <a:close/>
              </a:path>
            </a:pathLst>
          </a:custGeom>
          <a:solidFill>
            <a:schemeClr val="bg1"/>
          </a:solidFill>
          <a:ln>
            <a:noFill/>
          </a:ln>
          <a:effectLst/>
        </p:spPr>
        <p:txBody>
          <a:bodyPr anchor="ctr"/>
          <a:lstStyle/>
          <a:p>
            <a:pPr marL="0" marR="0" lvl="0" indent="0" algn="l" defTabSz="51438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srgbClr val="424242"/>
              </a:solidFill>
              <a:effectLst/>
              <a:uLnTx/>
              <a:uFillTx/>
              <a:latin typeface="Lato Light" panose="020F0502020204030203" pitchFamily="34" charset="0"/>
              <a:ea typeface="+mn-ea"/>
              <a:cs typeface="+mn-cs"/>
            </a:endParaRPr>
          </a:p>
        </p:txBody>
      </p:sp>
      <p:sp>
        <p:nvSpPr>
          <p:cNvPr id="49" name="Freeform 949">
            <a:extLst>
              <a:ext uri="{FF2B5EF4-FFF2-40B4-BE49-F238E27FC236}">
                <a16:creationId xmlns:a16="http://schemas.microsoft.com/office/drawing/2014/main" id="{83717608-B801-4047-BD4C-EE4E61F369B0}"/>
              </a:ext>
            </a:extLst>
          </p:cNvPr>
          <p:cNvSpPr>
            <a:spLocks noChangeArrowheads="1"/>
          </p:cNvSpPr>
          <p:nvPr/>
        </p:nvSpPr>
        <p:spPr bwMode="auto">
          <a:xfrm>
            <a:off x="6916813" y="2003804"/>
            <a:ext cx="365214" cy="365214"/>
          </a:xfrm>
          <a:custGeom>
            <a:avLst/>
            <a:gdLst>
              <a:gd name="T0" fmla="*/ 28369 w 293327"/>
              <a:gd name="T1" fmla="*/ 213686 h 293759"/>
              <a:gd name="T2" fmla="*/ 19167 w 293327"/>
              <a:gd name="T3" fmla="*/ 213686 h 293759"/>
              <a:gd name="T4" fmla="*/ 266163 w 293327"/>
              <a:gd name="T5" fmla="*/ 208363 h 293759"/>
              <a:gd name="T6" fmla="*/ 208224 w 293327"/>
              <a:gd name="T7" fmla="*/ 228628 h 293759"/>
              <a:gd name="T8" fmla="*/ 207862 w 293327"/>
              <a:gd name="T9" fmla="*/ 240207 h 293759"/>
              <a:gd name="T10" fmla="*/ 263629 w 293327"/>
              <a:gd name="T11" fmla="*/ 220305 h 293759"/>
              <a:gd name="T12" fmla="*/ 266163 w 293327"/>
              <a:gd name="T13" fmla="*/ 208363 h 293759"/>
              <a:gd name="T14" fmla="*/ 46354 w 293327"/>
              <a:gd name="T15" fmla="*/ 272051 h 293759"/>
              <a:gd name="T16" fmla="*/ 286442 w 293327"/>
              <a:gd name="T17" fmla="*/ 228266 h 293759"/>
              <a:gd name="T18" fmla="*/ 264353 w 293327"/>
              <a:gd name="T19" fmla="*/ 229712 h 293759"/>
              <a:gd name="T20" fmla="*/ 162596 w 293327"/>
              <a:gd name="T21" fmla="*/ 256491 h 293759"/>
              <a:gd name="T22" fmla="*/ 118778 w 293327"/>
              <a:gd name="T23" fmla="*/ 248530 h 293759"/>
              <a:gd name="T24" fmla="*/ 191204 w 293327"/>
              <a:gd name="T25" fmla="*/ 243825 h 293759"/>
              <a:gd name="T26" fmla="*/ 196273 w 293327"/>
              <a:gd name="T27" fmla="*/ 223199 h 293759"/>
              <a:gd name="T28" fmla="*/ 126746 w 293327"/>
              <a:gd name="T29" fmla="*/ 210895 h 293759"/>
              <a:gd name="T30" fmla="*/ 8693 w 293327"/>
              <a:gd name="T31" fmla="*/ 199316 h 293759"/>
              <a:gd name="T32" fmla="*/ 37661 w 293327"/>
              <a:gd name="T33" fmla="*/ 270606 h 293759"/>
              <a:gd name="T34" fmla="*/ 8693 w 293327"/>
              <a:gd name="T35" fmla="*/ 199316 h 293759"/>
              <a:gd name="T36" fmla="*/ 42007 w 293327"/>
              <a:gd name="T37" fmla="*/ 190268 h 293759"/>
              <a:gd name="T38" fmla="*/ 187582 w 293327"/>
              <a:gd name="T39" fmla="*/ 211257 h 293759"/>
              <a:gd name="T40" fmla="*/ 205326 w 293327"/>
              <a:gd name="T41" fmla="*/ 220305 h 293759"/>
              <a:gd name="T42" fmla="*/ 271958 w 293327"/>
              <a:gd name="T43" fmla="*/ 201124 h 293759"/>
              <a:gd name="T44" fmla="*/ 277390 w 293327"/>
              <a:gd name="T45" fmla="*/ 215600 h 293759"/>
              <a:gd name="T46" fmla="*/ 295133 w 293327"/>
              <a:gd name="T47" fmla="*/ 228628 h 293759"/>
              <a:gd name="T48" fmla="*/ 134712 w 293327"/>
              <a:gd name="T49" fmla="*/ 293402 h 293759"/>
              <a:gd name="T50" fmla="*/ 4344 w 293327"/>
              <a:gd name="T51" fmla="*/ 279649 h 293759"/>
              <a:gd name="T52" fmla="*/ 0 w 293327"/>
              <a:gd name="T53" fmla="*/ 194611 h 293759"/>
              <a:gd name="T54" fmla="*/ 192800 w 293327"/>
              <a:gd name="T55" fmla="*/ 9017 h 293759"/>
              <a:gd name="T56" fmla="*/ 273653 w 293327"/>
              <a:gd name="T57" fmla="*/ 47601 h 293759"/>
              <a:gd name="T58" fmla="*/ 192800 w 293327"/>
              <a:gd name="T59" fmla="*/ 9017 h 293759"/>
              <a:gd name="T60" fmla="*/ 144940 w 293327"/>
              <a:gd name="T61" fmla="*/ 98451 h 293759"/>
              <a:gd name="T62" fmla="*/ 164519 w 293327"/>
              <a:gd name="T63" fmla="*/ 89074 h 293759"/>
              <a:gd name="T64" fmla="*/ 183736 w 293327"/>
              <a:gd name="T65" fmla="*/ 98451 h 293759"/>
              <a:gd name="T66" fmla="*/ 144940 w 293327"/>
              <a:gd name="T67" fmla="*/ 9017 h 293759"/>
              <a:gd name="T68" fmla="*/ 55386 w 293327"/>
              <a:gd name="T69" fmla="*/ 47601 h 293759"/>
              <a:gd name="T70" fmla="*/ 135876 w 293327"/>
              <a:gd name="T71" fmla="*/ 9017 h 293759"/>
              <a:gd name="T72" fmla="*/ 50671 w 293327"/>
              <a:gd name="T73" fmla="*/ 0 h 293759"/>
              <a:gd name="T74" fmla="*/ 282355 w 293327"/>
              <a:gd name="T75" fmla="*/ 4328 h 293759"/>
              <a:gd name="T76" fmla="*/ 278005 w 293327"/>
              <a:gd name="T77" fmla="*/ 56256 h 293759"/>
              <a:gd name="T78" fmla="*/ 269302 w 293327"/>
              <a:gd name="T79" fmla="*/ 187167 h 293759"/>
              <a:gd name="T80" fmla="*/ 260237 w 293327"/>
              <a:gd name="T81" fmla="*/ 187167 h 293759"/>
              <a:gd name="T82" fmla="*/ 192800 w 293327"/>
              <a:gd name="T83" fmla="*/ 56256 h 293759"/>
              <a:gd name="T84" fmla="*/ 190625 w 293327"/>
              <a:gd name="T85" fmla="*/ 109271 h 293759"/>
              <a:gd name="T86" fmla="*/ 186273 w 293327"/>
              <a:gd name="T87" fmla="*/ 109629 h 293759"/>
              <a:gd name="T88" fmla="*/ 142403 w 293327"/>
              <a:gd name="T89" fmla="*/ 109629 h 293759"/>
              <a:gd name="T90" fmla="*/ 135876 w 293327"/>
              <a:gd name="T91" fmla="*/ 105663 h 293759"/>
              <a:gd name="T92" fmla="*/ 68800 w 293327"/>
              <a:gd name="T93" fmla="*/ 56256 h 293759"/>
              <a:gd name="T94" fmla="*/ 64087 w 293327"/>
              <a:gd name="T95" fmla="*/ 182478 h 293759"/>
              <a:gd name="T96" fmla="*/ 59735 w 293327"/>
              <a:gd name="T97" fmla="*/ 56256 h 293759"/>
              <a:gd name="T98" fmla="*/ 46322 w 293327"/>
              <a:gd name="T99" fmla="*/ 51929 h 293759"/>
              <a:gd name="T100" fmla="*/ 50671 w 293327"/>
              <a:gd name="T101" fmla="*/ 0 h 2937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3327" h="293759">
                <a:moveTo>
                  <a:pt x="23622" y="209550"/>
                </a:moveTo>
                <a:cubicBezTo>
                  <a:pt x="26289" y="209550"/>
                  <a:pt x="28194" y="211382"/>
                  <a:pt x="28194" y="213946"/>
                </a:cubicBezTo>
                <a:cubicBezTo>
                  <a:pt x="28194" y="216511"/>
                  <a:pt x="26289" y="218709"/>
                  <a:pt x="23622" y="218709"/>
                </a:cubicBezTo>
                <a:cubicBezTo>
                  <a:pt x="20955" y="218709"/>
                  <a:pt x="19050" y="216511"/>
                  <a:pt x="19050" y="213946"/>
                </a:cubicBezTo>
                <a:cubicBezTo>
                  <a:pt x="19050" y="211382"/>
                  <a:pt x="20955" y="209550"/>
                  <a:pt x="23622" y="209550"/>
                </a:cubicBezTo>
                <a:close/>
                <a:moveTo>
                  <a:pt x="264534" y="208615"/>
                </a:moveTo>
                <a:cubicBezTo>
                  <a:pt x="262375" y="207529"/>
                  <a:pt x="251218" y="212239"/>
                  <a:pt x="243300" y="215862"/>
                </a:cubicBezTo>
                <a:cubicBezTo>
                  <a:pt x="233222" y="219847"/>
                  <a:pt x="220985" y="224920"/>
                  <a:pt x="206949" y="228905"/>
                </a:cubicBezTo>
                <a:cubicBezTo>
                  <a:pt x="207309" y="231079"/>
                  <a:pt x="207309" y="233615"/>
                  <a:pt x="207309" y="236151"/>
                </a:cubicBezTo>
                <a:cubicBezTo>
                  <a:pt x="206949" y="237238"/>
                  <a:pt x="206949" y="238688"/>
                  <a:pt x="206589" y="240499"/>
                </a:cubicBezTo>
                <a:cubicBezTo>
                  <a:pt x="229983" y="234340"/>
                  <a:pt x="247259" y="227094"/>
                  <a:pt x="259136" y="222021"/>
                </a:cubicBezTo>
                <a:cubicBezTo>
                  <a:pt x="260216" y="221297"/>
                  <a:pt x="261295" y="220934"/>
                  <a:pt x="262015" y="220572"/>
                </a:cubicBezTo>
                <a:cubicBezTo>
                  <a:pt x="265254" y="217674"/>
                  <a:pt x="267054" y="214775"/>
                  <a:pt x="267054" y="212601"/>
                </a:cubicBezTo>
                <a:cubicBezTo>
                  <a:pt x="267054" y="211877"/>
                  <a:pt x="267054" y="210427"/>
                  <a:pt x="264534" y="208615"/>
                </a:cubicBezTo>
                <a:close/>
                <a:moveTo>
                  <a:pt x="46069" y="199558"/>
                </a:moveTo>
                <a:lnTo>
                  <a:pt x="46069" y="272383"/>
                </a:lnTo>
                <a:cubicBezTo>
                  <a:pt x="66584" y="278542"/>
                  <a:pt x="186434" y="310788"/>
                  <a:pt x="277131" y="237963"/>
                </a:cubicBezTo>
                <a:cubicBezTo>
                  <a:pt x="279291" y="236514"/>
                  <a:pt x="284330" y="232166"/>
                  <a:pt x="284689" y="228543"/>
                </a:cubicBezTo>
                <a:cubicBezTo>
                  <a:pt x="284689" y="227456"/>
                  <a:pt x="284330" y="226007"/>
                  <a:pt x="282170" y="224195"/>
                </a:cubicBezTo>
                <a:cubicBezTo>
                  <a:pt x="280371" y="222746"/>
                  <a:pt x="271733" y="226369"/>
                  <a:pt x="262735" y="229992"/>
                </a:cubicBezTo>
                <a:cubicBezTo>
                  <a:pt x="247979" y="236514"/>
                  <a:pt x="225664" y="245934"/>
                  <a:pt x="192912" y="252818"/>
                </a:cubicBezTo>
                <a:cubicBezTo>
                  <a:pt x="185354" y="255354"/>
                  <a:pt x="174917" y="256803"/>
                  <a:pt x="161600" y="256803"/>
                </a:cubicBezTo>
                <a:cubicBezTo>
                  <a:pt x="150443" y="256803"/>
                  <a:pt x="137126" y="256079"/>
                  <a:pt x="122010" y="253542"/>
                </a:cubicBezTo>
                <a:cubicBezTo>
                  <a:pt x="119491" y="253542"/>
                  <a:pt x="118051" y="251369"/>
                  <a:pt x="118051" y="248832"/>
                </a:cubicBezTo>
                <a:cubicBezTo>
                  <a:pt x="118411" y="246296"/>
                  <a:pt x="120570" y="244485"/>
                  <a:pt x="123090" y="244847"/>
                </a:cubicBezTo>
                <a:cubicBezTo>
                  <a:pt x="163400" y="249919"/>
                  <a:pt x="181395" y="247383"/>
                  <a:pt x="190033" y="244122"/>
                </a:cubicBezTo>
                <a:cubicBezTo>
                  <a:pt x="197951" y="240862"/>
                  <a:pt x="198311" y="236876"/>
                  <a:pt x="198311" y="235427"/>
                </a:cubicBezTo>
                <a:cubicBezTo>
                  <a:pt x="198671" y="229992"/>
                  <a:pt x="197591" y="226007"/>
                  <a:pt x="195072" y="223471"/>
                </a:cubicBezTo>
                <a:cubicBezTo>
                  <a:pt x="191833" y="220210"/>
                  <a:pt x="186794" y="220210"/>
                  <a:pt x="186434" y="220210"/>
                </a:cubicBezTo>
                <a:cubicBezTo>
                  <a:pt x="142885" y="220934"/>
                  <a:pt x="135327" y="216224"/>
                  <a:pt x="125969" y="211152"/>
                </a:cubicBezTo>
                <a:cubicBezTo>
                  <a:pt x="116971" y="205717"/>
                  <a:pt x="106894" y="199558"/>
                  <a:pt x="46069" y="199558"/>
                </a:cubicBezTo>
                <a:close/>
                <a:moveTo>
                  <a:pt x="8638" y="199558"/>
                </a:moveTo>
                <a:lnTo>
                  <a:pt x="8638" y="270933"/>
                </a:lnTo>
                <a:lnTo>
                  <a:pt x="37431" y="270933"/>
                </a:lnTo>
                <a:lnTo>
                  <a:pt x="37431" y="199558"/>
                </a:lnTo>
                <a:lnTo>
                  <a:pt x="8638" y="199558"/>
                </a:lnTo>
                <a:close/>
                <a:moveTo>
                  <a:pt x="4319" y="190500"/>
                </a:moveTo>
                <a:lnTo>
                  <a:pt x="41750" y="190500"/>
                </a:lnTo>
                <a:cubicBezTo>
                  <a:pt x="108693" y="190500"/>
                  <a:pt x="120570" y="197021"/>
                  <a:pt x="130648" y="203181"/>
                </a:cubicBezTo>
                <a:cubicBezTo>
                  <a:pt x="138566" y="207891"/>
                  <a:pt x="145404" y="212239"/>
                  <a:pt x="186434" y="211514"/>
                </a:cubicBezTo>
                <a:cubicBezTo>
                  <a:pt x="186434" y="211514"/>
                  <a:pt x="195072" y="211152"/>
                  <a:pt x="201550" y="216949"/>
                </a:cubicBezTo>
                <a:cubicBezTo>
                  <a:pt x="202270" y="218398"/>
                  <a:pt x="203350" y="219123"/>
                  <a:pt x="204070" y="220572"/>
                </a:cubicBezTo>
                <a:cubicBezTo>
                  <a:pt x="217746" y="216587"/>
                  <a:pt x="229983" y="211514"/>
                  <a:pt x="239701" y="207529"/>
                </a:cubicBezTo>
                <a:cubicBezTo>
                  <a:pt x="254817" y="200645"/>
                  <a:pt x="263815" y="196659"/>
                  <a:pt x="270293" y="201369"/>
                </a:cubicBezTo>
                <a:cubicBezTo>
                  <a:pt x="274612" y="204992"/>
                  <a:pt x="275692" y="209340"/>
                  <a:pt x="276052" y="212239"/>
                </a:cubicBezTo>
                <a:cubicBezTo>
                  <a:pt x="276052" y="213326"/>
                  <a:pt x="275692" y="214775"/>
                  <a:pt x="275692" y="215862"/>
                </a:cubicBezTo>
                <a:cubicBezTo>
                  <a:pt x="280730" y="214413"/>
                  <a:pt x="284689" y="214775"/>
                  <a:pt x="287929" y="217311"/>
                </a:cubicBezTo>
                <a:cubicBezTo>
                  <a:pt x="292608" y="221297"/>
                  <a:pt x="293327" y="226007"/>
                  <a:pt x="293327" y="228905"/>
                </a:cubicBezTo>
                <a:cubicBezTo>
                  <a:pt x="292967" y="237963"/>
                  <a:pt x="283970" y="244485"/>
                  <a:pt x="282890" y="245209"/>
                </a:cubicBezTo>
                <a:cubicBezTo>
                  <a:pt x="234662" y="283252"/>
                  <a:pt x="179236" y="293759"/>
                  <a:pt x="133887" y="293759"/>
                </a:cubicBezTo>
                <a:cubicBezTo>
                  <a:pt x="84579" y="293759"/>
                  <a:pt x="46789" y="281803"/>
                  <a:pt x="41030" y="279991"/>
                </a:cubicBezTo>
                <a:lnTo>
                  <a:pt x="4319" y="279991"/>
                </a:lnTo>
                <a:cubicBezTo>
                  <a:pt x="1799" y="279991"/>
                  <a:pt x="0" y="278180"/>
                  <a:pt x="0" y="275281"/>
                </a:cubicBezTo>
                <a:lnTo>
                  <a:pt x="0" y="194848"/>
                </a:lnTo>
                <a:cubicBezTo>
                  <a:pt x="0" y="192311"/>
                  <a:pt x="1799" y="190500"/>
                  <a:pt x="4319" y="190500"/>
                </a:cubicBezTo>
                <a:close/>
                <a:moveTo>
                  <a:pt x="191620" y="9027"/>
                </a:moveTo>
                <a:lnTo>
                  <a:pt x="191620" y="47661"/>
                </a:lnTo>
                <a:lnTo>
                  <a:pt x="271978" y="47661"/>
                </a:lnTo>
                <a:lnTo>
                  <a:pt x="271978" y="9027"/>
                </a:lnTo>
                <a:lnTo>
                  <a:pt x="191620" y="9027"/>
                </a:lnTo>
                <a:close/>
                <a:moveTo>
                  <a:pt x="144053" y="9027"/>
                </a:moveTo>
                <a:lnTo>
                  <a:pt x="144053" y="98571"/>
                </a:lnTo>
                <a:lnTo>
                  <a:pt x="161350" y="89906"/>
                </a:lnTo>
                <a:cubicBezTo>
                  <a:pt x="162071" y="89184"/>
                  <a:pt x="162792" y="89184"/>
                  <a:pt x="163512" y="89184"/>
                </a:cubicBezTo>
                <a:cubicBezTo>
                  <a:pt x="164233" y="89184"/>
                  <a:pt x="164593" y="89184"/>
                  <a:pt x="165314" y="89906"/>
                </a:cubicBezTo>
                <a:lnTo>
                  <a:pt x="182611" y="98571"/>
                </a:lnTo>
                <a:lnTo>
                  <a:pt x="182611" y="9027"/>
                </a:lnTo>
                <a:lnTo>
                  <a:pt x="144053" y="9027"/>
                </a:lnTo>
                <a:close/>
                <a:moveTo>
                  <a:pt x="55046" y="9027"/>
                </a:moveTo>
                <a:lnTo>
                  <a:pt x="55046" y="47661"/>
                </a:lnTo>
                <a:lnTo>
                  <a:pt x="135044" y="47661"/>
                </a:lnTo>
                <a:lnTo>
                  <a:pt x="135044" y="9027"/>
                </a:lnTo>
                <a:lnTo>
                  <a:pt x="55046" y="9027"/>
                </a:lnTo>
                <a:close/>
                <a:moveTo>
                  <a:pt x="50361" y="0"/>
                </a:moveTo>
                <a:lnTo>
                  <a:pt x="276303" y="0"/>
                </a:lnTo>
                <a:cubicBezTo>
                  <a:pt x="278465" y="0"/>
                  <a:pt x="280627" y="1805"/>
                  <a:pt x="280627" y="4333"/>
                </a:cubicBezTo>
                <a:lnTo>
                  <a:pt x="280627" y="51994"/>
                </a:lnTo>
                <a:cubicBezTo>
                  <a:pt x="280627" y="54521"/>
                  <a:pt x="278465" y="56326"/>
                  <a:pt x="276303" y="56326"/>
                </a:cubicBezTo>
                <a:lnTo>
                  <a:pt x="267654" y="56326"/>
                </a:lnTo>
                <a:lnTo>
                  <a:pt x="267654" y="187394"/>
                </a:lnTo>
                <a:cubicBezTo>
                  <a:pt x="267654" y="189560"/>
                  <a:pt x="265492" y="191727"/>
                  <a:pt x="263330" y="191727"/>
                </a:cubicBezTo>
                <a:cubicBezTo>
                  <a:pt x="260807" y="191727"/>
                  <a:pt x="258645" y="189560"/>
                  <a:pt x="258645" y="187394"/>
                </a:cubicBezTo>
                <a:lnTo>
                  <a:pt x="258645" y="56326"/>
                </a:lnTo>
                <a:lnTo>
                  <a:pt x="191620" y="56326"/>
                </a:lnTo>
                <a:lnTo>
                  <a:pt x="191620" y="105793"/>
                </a:lnTo>
                <a:cubicBezTo>
                  <a:pt x="191620" y="107237"/>
                  <a:pt x="190899" y="108681"/>
                  <a:pt x="189458" y="109403"/>
                </a:cubicBezTo>
                <a:cubicBezTo>
                  <a:pt x="188737" y="110126"/>
                  <a:pt x="188016" y="110126"/>
                  <a:pt x="187296" y="110126"/>
                </a:cubicBezTo>
                <a:cubicBezTo>
                  <a:pt x="186575" y="110126"/>
                  <a:pt x="185494" y="110126"/>
                  <a:pt x="185133" y="109764"/>
                </a:cubicBezTo>
                <a:lnTo>
                  <a:pt x="163512" y="98571"/>
                </a:lnTo>
                <a:lnTo>
                  <a:pt x="141531" y="109764"/>
                </a:lnTo>
                <a:cubicBezTo>
                  <a:pt x="140089" y="110487"/>
                  <a:pt x="138648" y="110487"/>
                  <a:pt x="137206" y="109403"/>
                </a:cubicBezTo>
                <a:cubicBezTo>
                  <a:pt x="136125" y="108681"/>
                  <a:pt x="135044" y="107237"/>
                  <a:pt x="135044" y="105793"/>
                </a:cubicBezTo>
                <a:lnTo>
                  <a:pt x="135044" y="56326"/>
                </a:lnTo>
                <a:lnTo>
                  <a:pt x="68379" y="56326"/>
                </a:lnTo>
                <a:lnTo>
                  <a:pt x="68379" y="178006"/>
                </a:lnTo>
                <a:cubicBezTo>
                  <a:pt x="68379" y="180895"/>
                  <a:pt x="66217" y="182700"/>
                  <a:pt x="63695" y="182700"/>
                </a:cubicBezTo>
                <a:cubicBezTo>
                  <a:pt x="61172" y="182700"/>
                  <a:pt x="59370" y="180895"/>
                  <a:pt x="59370" y="178006"/>
                </a:cubicBezTo>
                <a:lnTo>
                  <a:pt x="59370" y="56326"/>
                </a:lnTo>
                <a:lnTo>
                  <a:pt x="50361" y="56326"/>
                </a:lnTo>
                <a:cubicBezTo>
                  <a:pt x="48199" y="56326"/>
                  <a:pt x="46037" y="54521"/>
                  <a:pt x="46037" y="51994"/>
                </a:cubicBezTo>
                <a:lnTo>
                  <a:pt x="46037" y="4333"/>
                </a:lnTo>
                <a:cubicBezTo>
                  <a:pt x="46037" y="1805"/>
                  <a:pt x="48199" y="0"/>
                  <a:pt x="50361" y="0"/>
                </a:cubicBezTo>
                <a:close/>
              </a:path>
            </a:pathLst>
          </a:custGeom>
          <a:solidFill>
            <a:schemeClr val="bg1"/>
          </a:solidFill>
          <a:ln>
            <a:noFill/>
          </a:ln>
          <a:effectLst/>
        </p:spPr>
        <p:txBody>
          <a:bodyPr anchor="ctr"/>
          <a:lstStyle/>
          <a:p>
            <a:pPr marL="0" marR="0" lvl="0" indent="0" algn="l" defTabSz="51438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srgbClr val="424242"/>
              </a:solidFill>
              <a:effectLst/>
              <a:uLnTx/>
              <a:uFillTx/>
              <a:latin typeface="Lato Light" panose="020F0502020204030203" pitchFamily="34" charset="0"/>
              <a:ea typeface="+mn-ea"/>
              <a:cs typeface="+mn-cs"/>
            </a:endParaRPr>
          </a:p>
        </p:txBody>
      </p:sp>
      <p:sp>
        <p:nvSpPr>
          <p:cNvPr id="59" name="TextBox 58">
            <a:extLst>
              <a:ext uri="{FF2B5EF4-FFF2-40B4-BE49-F238E27FC236}">
                <a16:creationId xmlns:a16="http://schemas.microsoft.com/office/drawing/2014/main" id="{771D1D83-9FB7-244E-A3D0-73B752D173A7}"/>
              </a:ext>
            </a:extLst>
          </p:cNvPr>
          <p:cNvSpPr txBox="1"/>
          <p:nvPr/>
        </p:nvSpPr>
        <p:spPr>
          <a:xfrm>
            <a:off x="1871603" y="1725814"/>
            <a:ext cx="511680" cy="253916"/>
          </a:xfrm>
          <a:prstGeom prst="rect">
            <a:avLst/>
          </a:prstGeom>
          <a:noFill/>
        </p:spPr>
        <p:txBody>
          <a:bodyPr wrap="none" rtlCol="0" anchor="ctr" anchorCtr="0">
            <a:spAutoFit/>
          </a:bodyPr>
          <a:lstStyle/>
          <a:p>
            <a:pPr marL="0" marR="0" lvl="0" indent="0" algn="ctr" defTabSz="5143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Montserrat Medium"/>
                <a:ea typeface="League Spartan" charset="0"/>
                <a:cs typeface="Poppins" pitchFamily="2" charset="77"/>
              </a:rPr>
              <a:t>2020</a:t>
            </a:r>
          </a:p>
        </p:txBody>
      </p:sp>
      <p:sp>
        <p:nvSpPr>
          <p:cNvPr id="60" name="TextBox 59">
            <a:extLst>
              <a:ext uri="{FF2B5EF4-FFF2-40B4-BE49-F238E27FC236}">
                <a16:creationId xmlns:a16="http://schemas.microsoft.com/office/drawing/2014/main" id="{AA01D391-0BBF-D54C-A90C-0C0029EC2EDB}"/>
              </a:ext>
            </a:extLst>
          </p:cNvPr>
          <p:cNvSpPr txBox="1"/>
          <p:nvPr/>
        </p:nvSpPr>
        <p:spPr>
          <a:xfrm>
            <a:off x="4344130" y="1761430"/>
            <a:ext cx="473207" cy="253916"/>
          </a:xfrm>
          <a:prstGeom prst="rect">
            <a:avLst/>
          </a:prstGeom>
          <a:noFill/>
        </p:spPr>
        <p:txBody>
          <a:bodyPr wrap="none" rtlCol="0" anchor="ctr" anchorCtr="0">
            <a:spAutoFit/>
          </a:bodyPr>
          <a:lstStyle/>
          <a:p>
            <a:pPr marL="0" marR="0" lvl="0" indent="0" algn="ctr" defTabSz="5143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Montserrat Medium"/>
                <a:ea typeface="League Spartan" charset="0"/>
                <a:cs typeface="Poppins" pitchFamily="2" charset="77"/>
              </a:rPr>
              <a:t>2021</a:t>
            </a:r>
          </a:p>
        </p:txBody>
      </p:sp>
      <p:sp>
        <p:nvSpPr>
          <p:cNvPr id="61" name="TextBox 60">
            <a:extLst>
              <a:ext uri="{FF2B5EF4-FFF2-40B4-BE49-F238E27FC236}">
                <a16:creationId xmlns:a16="http://schemas.microsoft.com/office/drawing/2014/main" id="{59893C0E-604E-9544-800C-34C44958E565}"/>
              </a:ext>
            </a:extLst>
          </p:cNvPr>
          <p:cNvSpPr txBox="1"/>
          <p:nvPr/>
        </p:nvSpPr>
        <p:spPr>
          <a:xfrm>
            <a:off x="6849993" y="1763078"/>
            <a:ext cx="498855" cy="253916"/>
          </a:xfrm>
          <a:prstGeom prst="rect">
            <a:avLst/>
          </a:prstGeom>
          <a:noFill/>
        </p:spPr>
        <p:txBody>
          <a:bodyPr wrap="none" rtlCol="0" anchor="ctr" anchorCtr="0">
            <a:spAutoFit/>
          </a:bodyPr>
          <a:lstStyle/>
          <a:p>
            <a:pPr marL="0" marR="0" lvl="0" indent="0" algn="ctr" defTabSz="5143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Montserrat Medium"/>
                <a:ea typeface="League Spartan" charset="0"/>
                <a:cs typeface="Poppins" pitchFamily="2" charset="77"/>
              </a:rPr>
              <a:t>2022</a:t>
            </a:r>
          </a:p>
        </p:txBody>
      </p:sp>
      <p:sp>
        <p:nvSpPr>
          <p:cNvPr id="3" name="Rectangle 2"/>
          <p:cNvSpPr/>
          <p:nvPr/>
        </p:nvSpPr>
        <p:spPr>
          <a:xfrm>
            <a:off x="467233" y="3129175"/>
            <a:ext cx="2778962" cy="1059418"/>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0597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endParaRPr>
          </a:p>
        </p:txBody>
      </p:sp>
      <p:sp>
        <p:nvSpPr>
          <p:cNvPr id="20" name="Rectangle 19"/>
          <p:cNvSpPr/>
          <p:nvPr/>
        </p:nvSpPr>
        <p:spPr>
          <a:xfrm>
            <a:off x="484164" y="4246271"/>
            <a:ext cx="2790371" cy="647931"/>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0597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Map other roles to be harnessed and initiate dialogues to repurpose them.  </a:t>
            </a:r>
          </a:p>
        </p:txBody>
      </p:sp>
      <p:sp>
        <p:nvSpPr>
          <p:cNvPr id="22" name="Rectangle 21"/>
          <p:cNvSpPr/>
          <p:nvPr/>
        </p:nvSpPr>
        <p:spPr>
          <a:xfrm>
            <a:off x="3382554" y="3129456"/>
            <a:ext cx="2568691" cy="1059418"/>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05979" rtl="0" eaLnBrk="1" fontAlgn="auto" latinLnBrk="0" hangingPunct="1">
              <a:lnSpc>
                <a:spcPct val="100000"/>
              </a:lnSpc>
              <a:spcBef>
                <a:spcPts val="0"/>
              </a:spcBef>
              <a:spcAft>
                <a:spcPts val="0"/>
              </a:spcAft>
              <a:buClrTx/>
              <a:buSzTx/>
              <a:buFontTx/>
              <a:buNone/>
              <a:tabLst/>
              <a:defRPr/>
            </a:pPr>
            <a:r>
              <a:rPr lang="en-US" sz="1050" dirty="0">
                <a:solidFill>
                  <a:srgbClr val="000000"/>
                </a:solidFill>
                <a:latin typeface="Montserrat Medium"/>
                <a:ea typeface="Open Sans Light" panose="020B0306030504020204" pitchFamily="34" charset="0"/>
                <a:cs typeface="Open Sans Light" panose="020B0306030504020204" pitchFamily="34" charset="0"/>
              </a:rPr>
              <a:t>S</a:t>
            </a:r>
            <a:r>
              <a:rPr kumimoji="0" lang="en-US" sz="1050" b="0" i="0" u="none" strike="noStrike" kern="1200" cap="none" spc="0" normalizeH="0" baseline="0" noProof="0" dirty="0" err="1">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trengthen</a:t>
            </a:r>
            <a:r>
              <a:rPr kumimoji="0" lang="en-US" sz="105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 other roles and partner with independent specialists to provide an expert workforce across networks. </a:t>
            </a:r>
          </a:p>
        </p:txBody>
      </p:sp>
      <p:sp>
        <p:nvSpPr>
          <p:cNvPr id="23" name="Rectangle 22"/>
          <p:cNvSpPr/>
          <p:nvPr/>
        </p:nvSpPr>
        <p:spPr>
          <a:xfrm>
            <a:off x="3374323" y="4254322"/>
            <a:ext cx="2579237" cy="628491"/>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0597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Fine tune support approaches across scenarios &amp; settings</a:t>
            </a:r>
          </a:p>
        </p:txBody>
      </p:sp>
      <p:sp>
        <p:nvSpPr>
          <p:cNvPr id="25" name="Rectangle 24"/>
          <p:cNvSpPr/>
          <p:nvPr/>
        </p:nvSpPr>
        <p:spPr>
          <a:xfrm>
            <a:off x="6052638" y="3156055"/>
            <a:ext cx="2628553" cy="1034946"/>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0597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Provide complete package of support including an expert work-force, fit-for-purpose PL and a cadence of network and school based support to handle complex scenarios.</a:t>
            </a:r>
          </a:p>
        </p:txBody>
      </p:sp>
      <p:sp>
        <p:nvSpPr>
          <p:cNvPr id="4" name="Rectangle 3"/>
          <p:cNvSpPr/>
          <p:nvPr/>
        </p:nvSpPr>
        <p:spPr>
          <a:xfrm>
            <a:off x="456950" y="2745975"/>
            <a:ext cx="2778370" cy="338370"/>
          </a:xfrm>
          <a:prstGeom prst="rect">
            <a:avLst/>
          </a:prstGeom>
          <a:solidFill>
            <a:srgbClr val="D70C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88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FFFFFF"/>
                </a:solidFill>
                <a:effectLst/>
                <a:uLnTx/>
                <a:uFillTx/>
                <a:latin typeface="Montserrat Medium"/>
                <a:ea typeface="+mn-ea"/>
                <a:cs typeface="+mn-cs"/>
              </a:rPr>
              <a:t>Roll-out robust on-ground support to implement Policy</a:t>
            </a:r>
          </a:p>
        </p:txBody>
      </p:sp>
      <p:sp>
        <p:nvSpPr>
          <p:cNvPr id="30" name="Rectangle 29"/>
          <p:cNvSpPr/>
          <p:nvPr/>
        </p:nvSpPr>
        <p:spPr>
          <a:xfrm>
            <a:off x="6064955" y="2758563"/>
            <a:ext cx="2632731" cy="331224"/>
          </a:xfrm>
          <a:prstGeom prst="rect">
            <a:avLst/>
          </a:prstGeom>
          <a:solidFill>
            <a:srgbClr val="D70C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88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FFFFFF"/>
                </a:solidFill>
                <a:effectLst/>
                <a:uLnTx/>
                <a:uFillTx/>
                <a:latin typeface="Montserrat Medium"/>
                <a:ea typeface="+mn-ea"/>
                <a:cs typeface="+mn-cs"/>
              </a:rPr>
              <a:t>Complete package of complex support for the Strategy</a:t>
            </a:r>
          </a:p>
        </p:txBody>
      </p:sp>
      <p:sp>
        <p:nvSpPr>
          <p:cNvPr id="31" name="Rectangle 30"/>
          <p:cNvSpPr/>
          <p:nvPr/>
        </p:nvSpPr>
        <p:spPr>
          <a:xfrm>
            <a:off x="3364217" y="2758563"/>
            <a:ext cx="2578472" cy="334753"/>
          </a:xfrm>
          <a:prstGeom prst="rect">
            <a:avLst/>
          </a:prstGeom>
          <a:solidFill>
            <a:srgbClr val="D70C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88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FFFFFF"/>
                </a:solidFill>
                <a:effectLst/>
                <a:uLnTx/>
                <a:uFillTx/>
                <a:latin typeface="Montserrat Medium"/>
                <a:ea typeface="+mn-ea"/>
                <a:cs typeface="+mn-cs"/>
              </a:rPr>
              <a:t>Embed, monitor &amp; adapt the support model</a:t>
            </a:r>
          </a:p>
        </p:txBody>
      </p:sp>
      <p:sp>
        <p:nvSpPr>
          <p:cNvPr id="32" name="Rectangle 31"/>
          <p:cNvSpPr/>
          <p:nvPr/>
        </p:nvSpPr>
        <p:spPr>
          <a:xfrm>
            <a:off x="6058081" y="4249338"/>
            <a:ext cx="2628719" cy="625706"/>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0597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    Develop Support Networks &amp; Community of Practice. Strengthen  inter-agency collaboration</a:t>
            </a:r>
          </a:p>
        </p:txBody>
      </p:sp>
      <p:sp>
        <p:nvSpPr>
          <p:cNvPr id="21" name="Rectangle 20"/>
          <p:cNvSpPr/>
          <p:nvPr/>
        </p:nvSpPr>
        <p:spPr>
          <a:xfrm>
            <a:off x="497516" y="4950756"/>
            <a:ext cx="2792883" cy="708967"/>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0597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Provide evidence based training, PL &amp; a package of tools and resources for schools</a:t>
            </a:r>
          </a:p>
        </p:txBody>
      </p:sp>
      <p:sp>
        <p:nvSpPr>
          <p:cNvPr id="24" name="Rectangle 23"/>
          <p:cNvSpPr/>
          <p:nvPr/>
        </p:nvSpPr>
        <p:spPr>
          <a:xfrm>
            <a:off x="3378348" y="4954873"/>
            <a:ext cx="2581559" cy="70485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0597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Provide further PL, resources and trainings &amp; contextual support</a:t>
            </a:r>
          </a:p>
        </p:txBody>
      </p:sp>
      <p:sp>
        <p:nvSpPr>
          <p:cNvPr id="33" name="Rectangle 32"/>
          <p:cNvSpPr/>
          <p:nvPr/>
        </p:nvSpPr>
        <p:spPr>
          <a:xfrm>
            <a:off x="6048798" y="4954873"/>
            <a:ext cx="2639344" cy="70485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0597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Document best practices and knowledge sharing on complex case support</a:t>
            </a:r>
          </a:p>
        </p:txBody>
      </p:sp>
      <p:sp>
        <p:nvSpPr>
          <p:cNvPr id="27" name="Freeform 922">
            <a:extLst>
              <a:ext uri="{FF2B5EF4-FFF2-40B4-BE49-F238E27FC236}">
                <a16:creationId xmlns:a16="http://schemas.microsoft.com/office/drawing/2014/main" id="{38D7D6B1-4BD0-4F67-A2CE-C4F022E802E3}"/>
              </a:ext>
            </a:extLst>
          </p:cNvPr>
          <p:cNvSpPr>
            <a:spLocks noChangeArrowheads="1"/>
          </p:cNvSpPr>
          <p:nvPr/>
        </p:nvSpPr>
        <p:spPr bwMode="auto">
          <a:xfrm>
            <a:off x="1913056" y="1956998"/>
            <a:ext cx="428774" cy="428774"/>
          </a:xfrm>
          <a:custGeom>
            <a:avLst/>
            <a:gdLst>
              <a:gd name="T0" fmla="*/ 2225924 w 293328"/>
              <a:gd name="T1" fmla="*/ 2982232 h 293328"/>
              <a:gd name="T2" fmla="*/ 2606720 w 293328"/>
              <a:gd name="T3" fmla="*/ 3061131 h 293328"/>
              <a:gd name="T4" fmla="*/ 2606720 w 293328"/>
              <a:gd name="T5" fmla="*/ 2761330 h 293328"/>
              <a:gd name="T6" fmla="*/ 1868162 w 293328"/>
              <a:gd name="T7" fmla="*/ 1547074 h 293328"/>
              <a:gd name="T8" fmla="*/ 1381781 w 293328"/>
              <a:gd name="T9" fmla="*/ 2315784 h 293328"/>
              <a:gd name="T10" fmla="*/ 1868162 w 293328"/>
              <a:gd name="T11" fmla="*/ 1547074 h 293328"/>
              <a:gd name="T12" fmla="*/ 792597 w 293328"/>
              <a:gd name="T13" fmla="*/ 2106834 h 293328"/>
              <a:gd name="T14" fmla="*/ 1282925 w 293328"/>
              <a:gd name="T15" fmla="*/ 1752049 h 293328"/>
              <a:gd name="T16" fmla="*/ 1330374 w 293328"/>
              <a:gd name="T17" fmla="*/ 1271135 h 293328"/>
              <a:gd name="T18" fmla="*/ 1330374 w 293328"/>
              <a:gd name="T19" fmla="*/ 1669261 h 293328"/>
              <a:gd name="T20" fmla="*/ 1330374 w 293328"/>
              <a:gd name="T21" fmla="*/ 1271135 h 293328"/>
              <a:gd name="T22" fmla="*/ 1350151 w 293328"/>
              <a:gd name="T23" fmla="*/ 1176512 h 293328"/>
              <a:gd name="T24" fmla="*/ 1967023 w 293328"/>
              <a:gd name="T25" fmla="*/ 1472163 h 293328"/>
              <a:gd name="T26" fmla="*/ 1939339 w 293328"/>
              <a:gd name="T27" fmla="*/ 2181752 h 293328"/>
              <a:gd name="T28" fmla="*/ 1330374 w 293328"/>
              <a:gd name="T29" fmla="*/ 2437980 h 293328"/>
              <a:gd name="T30" fmla="*/ 725364 w 293328"/>
              <a:gd name="T31" fmla="*/ 2181752 h 293328"/>
              <a:gd name="T32" fmla="*/ 697694 w 293328"/>
              <a:gd name="T33" fmla="*/ 1472163 h 293328"/>
              <a:gd name="T34" fmla="*/ 1310597 w 293328"/>
              <a:gd name="T35" fmla="*/ 1176512 h 293328"/>
              <a:gd name="T36" fmla="*/ 682860 w 293328"/>
              <a:gd name="T37" fmla="*/ 1151769 h 293328"/>
              <a:gd name="T38" fmla="*/ 682860 w 293328"/>
              <a:gd name="T39" fmla="*/ 2441784 h 293328"/>
              <a:gd name="T40" fmla="*/ 1805438 w 293328"/>
              <a:gd name="T41" fmla="*/ 2587732 h 293328"/>
              <a:gd name="T42" fmla="*/ 2158476 w 293328"/>
              <a:gd name="T43" fmla="*/ 2915168 h 293328"/>
              <a:gd name="T44" fmla="*/ 2146587 w 293328"/>
              <a:gd name="T45" fmla="*/ 2299753 h 293328"/>
              <a:gd name="T46" fmla="*/ 1983949 w 293328"/>
              <a:gd name="T47" fmla="*/ 1151769 h 293328"/>
              <a:gd name="T48" fmla="*/ 1333409 w 293328"/>
              <a:gd name="T49" fmla="*/ 784903 h 293328"/>
              <a:gd name="T50" fmla="*/ 2241775 w 293328"/>
              <a:gd name="T51" fmla="*/ 2256368 h 293328"/>
              <a:gd name="T52" fmla="*/ 2769346 w 293328"/>
              <a:gd name="T53" fmla="*/ 2911217 h 293328"/>
              <a:gd name="T54" fmla="*/ 2455986 w 293328"/>
              <a:gd name="T55" fmla="*/ 3222872 h 293328"/>
              <a:gd name="T56" fmla="*/ 1797510 w 293328"/>
              <a:gd name="T57" fmla="*/ 2694242 h 293328"/>
              <a:gd name="T58" fmla="*/ 313958 w 293328"/>
              <a:gd name="T59" fmla="*/ 1798754 h 293328"/>
              <a:gd name="T60" fmla="*/ 1333409 w 293328"/>
              <a:gd name="T61" fmla="*/ 784903 h 293328"/>
              <a:gd name="T62" fmla="*/ 2892729 w 293328"/>
              <a:gd name="T63" fmla="*/ 242833 h 293328"/>
              <a:gd name="T64" fmla="*/ 2892729 w 293328"/>
              <a:gd name="T65" fmla="*/ 315291 h 293328"/>
              <a:gd name="T66" fmla="*/ 2824315 w 293328"/>
              <a:gd name="T67" fmla="*/ 315291 h 293328"/>
              <a:gd name="T68" fmla="*/ 2824315 w 293328"/>
              <a:gd name="T69" fmla="*/ 242833 h 293328"/>
              <a:gd name="T70" fmla="*/ 2373485 w 293328"/>
              <a:gd name="T71" fmla="*/ 242833 h 293328"/>
              <a:gd name="T72" fmla="*/ 2373485 w 293328"/>
              <a:gd name="T73" fmla="*/ 315291 h 293328"/>
              <a:gd name="T74" fmla="*/ 2301039 w 293328"/>
              <a:gd name="T75" fmla="*/ 315291 h 293328"/>
              <a:gd name="T76" fmla="*/ 2301039 w 293328"/>
              <a:gd name="T77" fmla="*/ 242833 h 293328"/>
              <a:gd name="T78" fmla="*/ 2647214 w 293328"/>
              <a:gd name="T79" fmla="*/ 279054 h 293328"/>
              <a:gd name="T80" fmla="*/ 2546583 w 293328"/>
              <a:gd name="T81" fmla="*/ 279054 h 293328"/>
              <a:gd name="T82" fmla="*/ 98743 w 293328"/>
              <a:gd name="T83" fmla="*/ 94808 h 293328"/>
              <a:gd name="T84" fmla="*/ 3124131 w 293328"/>
              <a:gd name="T85" fmla="*/ 454216 h 293328"/>
              <a:gd name="T86" fmla="*/ 98743 w 293328"/>
              <a:gd name="T87" fmla="*/ 94808 h 293328"/>
              <a:gd name="T88" fmla="*/ 3175478 w 293328"/>
              <a:gd name="T89" fmla="*/ 0 h 293328"/>
              <a:gd name="T90" fmla="*/ 3222872 w 293328"/>
              <a:gd name="T91" fmla="*/ 3171527 h 293328"/>
              <a:gd name="T92" fmla="*/ 2859513 w 293328"/>
              <a:gd name="T93" fmla="*/ 3222872 h 293328"/>
              <a:gd name="T94" fmla="*/ 2859513 w 293328"/>
              <a:gd name="T95" fmla="*/ 3124131 h 293328"/>
              <a:gd name="T96" fmla="*/ 3124131 w 293328"/>
              <a:gd name="T97" fmla="*/ 552952 h 293328"/>
              <a:gd name="T98" fmla="*/ 98743 w 293328"/>
              <a:gd name="T99" fmla="*/ 3124131 h 293328"/>
              <a:gd name="T100" fmla="*/ 2061681 w 293328"/>
              <a:gd name="T101" fmla="*/ 3171527 h 293328"/>
              <a:gd name="T102" fmla="*/ 51356 w 293328"/>
              <a:gd name="T103" fmla="*/ 3222872 h 293328"/>
              <a:gd name="T104" fmla="*/ 0 w 293328"/>
              <a:gd name="T105" fmla="*/ 47381 h 29332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3328" h="293328">
                <a:moveTo>
                  <a:pt x="230028" y="244139"/>
                </a:moveTo>
                <a:lnTo>
                  <a:pt x="202590" y="271426"/>
                </a:lnTo>
                <a:lnTo>
                  <a:pt x="209811" y="278607"/>
                </a:lnTo>
                <a:cubicBezTo>
                  <a:pt x="217392" y="286147"/>
                  <a:pt x="229667" y="286147"/>
                  <a:pt x="237249" y="278607"/>
                </a:cubicBezTo>
                <a:cubicBezTo>
                  <a:pt x="240859" y="275017"/>
                  <a:pt x="243025" y="269990"/>
                  <a:pt x="243025" y="264963"/>
                </a:cubicBezTo>
                <a:cubicBezTo>
                  <a:pt x="243025" y="259578"/>
                  <a:pt x="240859" y="254910"/>
                  <a:pt x="237249" y="251320"/>
                </a:cubicBezTo>
                <a:lnTo>
                  <a:pt x="230028" y="244139"/>
                </a:lnTo>
                <a:close/>
                <a:moveTo>
                  <a:pt x="170030" y="140806"/>
                </a:moveTo>
                <a:lnTo>
                  <a:pt x="125762" y="159462"/>
                </a:lnTo>
                <a:lnTo>
                  <a:pt x="125762" y="210769"/>
                </a:lnTo>
                <a:lnTo>
                  <a:pt x="170030" y="191753"/>
                </a:lnTo>
                <a:lnTo>
                  <a:pt x="170030" y="140806"/>
                </a:lnTo>
                <a:close/>
                <a:moveTo>
                  <a:pt x="72138" y="140806"/>
                </a:moveTo>
                <a:lnTo>
                  <a:pt x="72138" y="191753"/>
                </a:lnTo>
                <a:lnTo>
                  <a:pt x="116765" y="210769"/>
                </a:lnTo>
                <a:lnTo>
                  <a:pt x="116765" y="159462"/>
                </a:lnTo>
                <a:lnTo>
                  <a:pt x="72138" y="140806"/>
                </a:lnTo>
                <a:close/>
                <a:moveTo>
                  <a:pt x="121084" y="115690"/>
                </a:moveTo>
                <a:lnTo>
                  <a:pt x="78976" y="133989"/>
                </a:lnTo>
                <a:lnTo>
                  <a:pt x="121084" y="151928"/>
                </a:lnTo>
                <a:lnTo>
                  <a:pt x="163552" y="133989"/>
                </a:lnTo>
                <a:lnTo>
                  <a:pt x="121084" y="115690"/>
                </a:lnTo>
                <a:close/>
                <a:moveTo>
                  <a:pt x="119284" y="107080"/>
                </a:moveTo>
                <a:cubicBezTo>
                  <a:pt x="120364" y="106362"/>
                  <a:pt x="121804" y="106362"/>
                  <a:pt x="122883" y="107080"/>
                </a:cubicBezTo>
                <a:lnTo>
                  <a:pt x="176508" y="129683"/>
                </a:lnTo>
                <a:cubicBezTo>
                  <a:pt x="177948" y="130401"/>
                  <a:pt x="179027" y="132195"/>
                  <a:pt x="179027" y="133989"/>
                </a:cubicBezTo>
                <a:lnTo>
                  <a:pt x="179027" y="194623"/>
                </a:lnTo>
                <a:cubicBezTo>
                  <a:pt x="179027" y="196417"/>
                  <a:pt x="177948" y="198211"/>
                  <a:pt x="176508" y="198570"/>
                </a:cubicBezTo>
                <a:lnTo>
                  <a:pt x="122883" y="221532"/>
                </a:lnTo>
                <a:cubicBezTo>
                  <a:pt x="122523" y="221891"/>
                  <a:pt x="121804" y="221891"/>
                  <a:pt x="121084" y="221891"/>
                </a:cubicBezTo>
                <a:cubicBezTo>
                  <a:pt x="120364" y="221891"/>
                  <a:pt x="120004" y="221891"/>
                  <a:pt x="119284" y="221532"/>
                </a:cubicBezTo>
                <a:lnTo>
                  <a:pt x="66019" y="198570"/>
                </a:lnTo>
                <a:cubicBezTo>
                  <a:pt x="64580" y="198211"/>
                  <a:pt x="63500" y="196417"/>
                  <a:pt x="63500" y="194623"/>
                </a:cubicBezTo>
                <a:lnTo>
                  <a:pt x="63500" y="133989"/>
                </a:lnTo>
                <a:cubicBezTo>
                  <a:pt x="63500" y="132195"/>
                  <a:pt x="64580" y="130401"/>
                  <a:pt x="66019" y="129683"/>
                </a:cubicBezTo>
                <a:lnTo>
                  <a:pt x="119284" y="107080"/>
                </a:lnTo>
                <a:close/>
                <a:moveTo>
                  <a:pt x="121359" y="80413"/>
                </a:moveTo>
                <a:cubicBezTo>
                  <a:pt x="98975" y="80413"/>
                  <a:pt x="78036" y="89030"/>
                  <a:pt x="62150" y="104828"/>
                </a:cubicBezTo>
                <a:cubicBezTo>
                  <a:pt x="46626" y="120267"/>
                  <a:pt x="37962" y="141092"/>
                  <a:pt x="37962" y="163712"/>
                </a:cubicBezTo>
                <a:cubicBezTo>
                  <a:pt x="37962" y="185614"/>
                  <a:pt x="46626" y="206439"/>
                  <a:pt x="62150" y="222237"/>
                </a:cubicBezTo>
                <a:cubicBezTo>
                  <a:pt x="88506" y="248447"/>
                  <a:pt x="129663" y="254192"/>
                  <a:pt x="162516" y="236240"/>
                </a:cubicBezTo>
                <a:cubicBezTo>
                  <a:pt x="162877" y="235521"/>
                  <a:pt x="163599" y="235521"/>
                  <a:pt x="164321" y="235521"/>
                </a:cubicBezTo>
                <a:cubicBezTo>
                  <a:pt x="165405" y="235521"/>
                  <a:pt x="166849" y="236240"/>
                  <a:pt x="167571" y="236958"/>
                </a:cubicBezTo>
                <a:lnTo>
                  <a:pt x="196453" y="265322"/>
                </a:lnTo>
                <a:lnTo>
                  <a:pt x="223891" y="237676"/>
                </a:lnTo>
                <a:lnTo>
                  <a:pt x="195370" y="209311"/>
                </a:lnTo>
                <a:cubicBezTo>
                  <a:pt x="193926" y="207875"/>
                  <a:pt x="193565" y="205721"/>
                  <a:pt x="194648" y="203925"/>
                </a:cubicBezTo>
                <a:cubicBezTo>
                  <a:pt x="212699" y="171611"/>
                  <a:pt x="207284" y="131039"/>
                  <a:pt x="180568" y="104828"/>
                </a:cubicBezTo>
                <a:cubicBezTo>
                  <a:pt x="165043" y="89030"/>
                  <a:pt x="144104" y="80413"/>
                  <a:pt x="121359" y="80413"/>
                </a:cubicBezTo>
                <a:close/>
                <a:moveTo>
                  <a:pt x="121359" y="71437"/>
                </a:moveTo>
                <a:cubicBezTo>
                  <a:pt x="146270" y="71437"/>
                  <a:pt x="169737" y="80772"/>
                  <a:pt x="187066" y="98365"/>
                </a:cubicBezTo>
                <a:cubicBezTo>
                  <a:pt x="215226" y="126371"/>
                  <a:pt x="222086" y="170175"/>
                  <a:pt x="204034" y="205362"/>
                </a:cubicBezTo>
                <a:lnTo>
                  <a:pt x="243747" y="244857"/>
                </a:lnTo>
                <a:cubicBezTo>
                  <a:pt x="249163" y="250242"/>
                  <a:pt x="252051" y="257423"/>
                  <a:pt x="252051" y="264963"/>
                </a:cubicBezTo>
                <a:cubicBezTo>
                  <a:pt x="252051" y="272503"/>
                  <a:pt x="249163" y="279684"/>
                  <a:pt x="243747" y="285070"/>
                </a:cubicBezTo>
                <a:cubicBezTo>
                  <a:pt x="237971" y="290456"/>
                  <a:pt x="230750" y="293328"/>
                  <a:pt x="223530" y="293328"/>
                </a:cubicBezTo>
                <a:cubicBezTo>
                  <a:pt x="216309" y="293328"/>
                  <a:pt x="209089" y="290456"/>
                  <a:pt x="203312" y="285070"/>
                </a:cubicBezTo>
                <a:lnTo>
                  <a:pt x="163599" y="245216"/>
                </a:lnTo>
                <a:cubicBezTo>
                  <a:pt x="128219" y="263527"/>
                  <a:pt x="84173" y="256705"/>
                  <a:pt x="56013" y="228700"/>
                </a:cubicBezTo>
                <a:cubicBezTo>
                  <a:pt x="38684" y="211106"/>
                  <a:pt x="28575" y="188127"/>
                  <a:pt x="28575" y="163712"/>
                </a:cubicBezTo>
                <a:cubicBezTo>
                  <a:pt x="28575" y="138938"/>
                  <a:pt x="38684" y="115600"/>
                  <a:pt x="56013" y="98365"/>
                </a:cubicBezTo>
                <a:cubicBezTo>
                  <a:pt x="73343" y="80772"/>
                  <a:pt x="96809" y="71437"/>
                  <a:pt x="121359" y="71437"/>
                </a:cubicBezTo>
                <a:close/>
                <a:moveTo>
                  <a:pt x="257053" y="22102"/>
                </a:moveTo>
                <a:cubicBezTo>
                  <a:pt x="258518" y="20637"/>
                  <a:pt x="261815" y="20637"/>
                  <a:pt x="263280" y="22102"/>
                </a:cubicBezTo>
                <a:cubicBezTo>
                  <a:pt x="264379" y="22835"/>
                  <a:pt x="264746" y="24300"/>
                  <a:pt x="264746" y="25399"/>
                </a:cubicBezTo>
                <a:cubicBezTo>
                  <a:pt x="264746" y="26499"/>
                  <a:pt x="264379" y="27598"/>
                  <a:pt x="263280" y="28697"/>
                </a:cubicBezTo>
                <a:cubicBezTo>
                  <a:pt x="262548" y="29429"/>
                  <a:pt x="261449" y="29796"/>
                  <a:pt x="260350" y="29796"/>
                </a:cubicBezTo>
                <a:cubicBezTo>
                  <a:pt x="258884" y="29796"/>
                  <a:pt x="258152" y="29429"/>
                  <a:pt x="257053" y="28697"/>
                </a:cubicBezTo>
                <a:cubicBezTo>
                  <a:pt x="256320" y="27598"/>
                  <a:pt x="255587" y="26499"/>
                  <a:pt x="255587" y="25399"/>
                </a:cubicBezTo>
                <a:cubicBezTo>
                  <a:pt x="255587" y="24300"/>
                  <a:pt x="256320" y="22835"/>
                  <a:pt x="257053" y="22102"/>
                </a:cubicBezTo>
                <a:close/>
                <a:moveTo>
                  <a:pt x="209428" y="22102"/>
                </a:moveTo>
                <a:cubicBezTo>
                  <a:pt x="211259" y="20637"/>
                  <a:pt x="214190" y="20637"/>
                  <a:pt x="216022" y="22102"/>
                </a:cubicBezTo>
                <a:cubicBezTo>
                  <a:pt x="216754" y="22835"/>
                  <a:pt x="217121" y="24300"/>
                  <a:pt x="217121" y="25399"/>
                </a:cubicBezTo>
                <a:cubicBezTo>
                  <a:pt x="217121" y="26499"/>
                  <a:pt x="216754" y="27598"/>
                  <a:pt x="216022" y="28697"/>
                </a:cubicBezTo>
                <a:cubicBezTo>
                  <a:pt x="214923" y="29429"/>
                  <a:pt x="213824" y="29796"/>
                  <a:pt x="212725" y="29796"/>
                </a:cubicBezTo>
                <a:cubicBezTo>
                  <a:pt x="211626" y="29796"/>
                  <a:pt x="210160" y="29429"/>
                  <a:pt x="209428" y="28697"/>
                </a:cubicBezTo>
                <a:cubicBezTo>
                  <a:pt x="208695" y="27598"/>
                  <a:pt x="207962" y="26499"/>
                  <a:pt x="207962" y="25399"/>
                </a:cubicBezTo>
                <a:cubicBezTo>
                  <a:pt x="207962" y="24300"/>
                  <a:pt x="208695" y="22835"/>
                  <a:pt x="209428" y="22102"/>
                </a:cubicBezTo>
                <a:close/>
                <a:moveTo>
                  <a:pt x="236538" y="20637"/>
                </a:moveTo>
                <a:cubicBezTo>
                  <a:pt x="239102" y="20637"/>
                  <a:pt x="240934" y="22835"/>
                  <a:pt x="240934" y="25399"/>
                </a:cubicBezTo>
                <a:cubicBezTo>
                  <a:pt x="240934" y="27964"/>
                  <a:pt x="239102" y="29796"/>
                  <a:pt x="236538" y="29796"/>
                </a:cubicBezTo>
                <a:cubicBezTo>
                  <a:pt x="233973" y="29796"/>
                  <a:pt x="231775" y="27964"/>
                  <a:pt x="231775" y="25399"/>
                </a:cubicBezTo>
                <a:cubicBezTo>
                  <a:pt x="231775" y="22835"/>
                  <a:pt x="233973" y="20637"/>
                  <a:pt x="236538" y="20637"/>
                </a:cubicBezTo>
                <a:close/>
                <a:moveTo>
                  <a:pt x="8987" y="8627"/>
                </a:moveTo>
                <a:lnTo>
                  <a:pt x="8987" y="41339"/>
                </a:lnTo>
                <a:lnTo>
                  <a:pt x="284341" y="41339"/>
                </a:lnTo>
                <a:lnTo>
                  <a:pt x="284341" y="8627"/>
                </a:lnTo>
                <a:lnTo>
                  <a:pt x="8987" y="8627"/>
                </a:lnTo>
                <a:close/>
                <a:moveTo>
                  <a:pt x="4673" y="0"/>
                </a:moveTo>
                <a:lnTo>
                  <a:pt x="289014" y="0"/>
                </a:lnTo>
                <a:cubicBezTo>
                  <a:pt x="291530" y="0"/>
                  <a:pt x="293328" y="1797"/>
                  <a:pt x="293328" y="4314"/>
                </a:cubicBezTo>
                <a:lnTo>
                  <a:pt x="293328" y="288654"/>
                </a:lnTo>
                <a:cubicBezTo>
                  <a:pt x="293328" y="291530"/>
                  <a:pt x="291530" y="293328"/>
                  <a:pt x="289014" y="293328"/>
                </a:cubicBezTo>
                <a:lnTo>
                  <a:pt x="260256" y="293328"/>
                </a:lnTo>
                <a:cubicBezTo>
                  <a:pt x="258100" y="293328"/>
                  <a:pt x="255943" y="291530"/>
                  <a:pt x="255943" y="288654"/>
                </a:cubicBezTo>
                <a:cubicBezTo>
                  <a:pt x="255943" y="286498"/>
                  <a:pt x="258100" y="284341"/>
                  <a:pt x="260256" y="284341"/>
                </a:cubicBezTo>
                <a:lnTo>
                  <a:pt x="284341" y="284341"/>
                </a:lnTo>
                <a:lnTo>
                  <a:pt x="284341" y="50326"/>
                </a:lnTo>
                <a:lnTo>
                  <a:pt x="8987" y="50326"/>
                </a:lnTo>
                <a:lnTo>
                  <a:pt x="8987" y="284341"/>
                </a:lnTo>
                <a:lnTo>
                  <a:pt x="183330" y="284341"/>
                </a:lnTo>
                <a:cubicBezTo>
                  <a:pt x="185846" y="284341"/>
                  <a:pt x="187643" y="286498"/>
                  <a:pt x="187643" y="288654"/>
                </a:cubicBezTo>
                <a:cubicBezTo>
                  <a:pt x="187643" y="291530"/>
                  <a:pt x="185846" y="293328"/>
                  <a:pt x="183330" y="293328"/>
                </a:cubicBezTo>
                <a:lnTo>
                  <a:pt x="4673" y="293328"/>
                </a:lnTo>
                <a:cubicBezTo>
                  <a:pt x="2157" y="293328"/>
                  <a:pt x="0" y="291530"/>
                  <a:pt x="0" y="288654"/>
                </a:cubicBezTo>
                <a:lnTo>
                  <a:pt x="0" y="4314"/>
                </a:lnTo>
                <a:cubicBezTo>
                  <a:pt x="0" y="1797"/>
                  <a:pt x="2157" y="0"/>
                  <a:pt x="4673" y="0"/>
                </a:cubicBezTo>
                <a:close/>
              </a:path>
            </a:pathLst>
          </a:custGeom>
          <a:solidFill>
            <a:schemeClr val="bg1"/>
          </a:solidFill>
          <a:ln>
            <a:noFill/>
          </a:ln>
          <a:effectLst/>
        </p:spPr>
        <p:txBody>
          <a:bodyPr anchor="ctr"/>
          <a:lstStyle/>
          <a:p>
            <a:pPr marL="0" marR="0" lvl="0" indent="0" algn="l" defTabSz="51438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srgbClr val="737572"/>
              </a:solidFill>
              <a:effectLst/>
              <a:uLnTx/>
              <a:uFillTx/>
              <a:latin typeface="Lato Light" panose="020F0502020204030203" pitchFamily="34" charset="0"/>
              <a:ea typeface="+mn-ea"/>
              <a:cs typeface="+mn-cs"/>
            </a:endParaRPr>
          </a:p>
        </p:txBody>
      </p:sp>
      <p:sp>
        <p:nvSpPr>
          <p:cNvPr id="8" name="Title 7"/>
          <p:cNvSpPr>
            <a:spLocks noGrp="1"/>
          </p:cNvSpPr>
          <p:nvPr>
            <p:ph type="title"/>
          </p:nvPr>
        </p:nvSpPr>
        <p:spPr>
          <a:xfrm>
            <a:off x="149629" y="376789"/>
            <a:ext cx="8994371" cy="498470"/>
          </a:xfrm>
        </p:spPr>
        <p:txBody>
          <a:bodyPr/>
          <a:lstStyle/>
          <a:p>
            <a:r>
              <a:rPr lang="en-US" sz="2000" dirty="0"/>
              <a:t>The new </a:t>
            </a:r>
            <a:r>
              <a:rPr lang="en-US" sz="2000" dirty="0" err="1"/>
              <a:t>Behaviour</a:t>
            </a:r>
            <a:r>
              <a:rPr lang="en-US" sz="2000" dirty="0"/>
              <a:t> Strategy will be implemented in phases</a:t>
            </a:r>
            <a:endParaRPr lang="en-AU" sz="2000" dirty="0"/>
          </a:p>
        </p:txBody>
      </p:sp>
      <p:sp>
        <p:nvSpPr>
          <p:cNvPr id="5" name="Oval 4"/>
          <p:cNvSpPr/>
          <p:nvPr/>
        </p:nvSpPr>
        <p:spPr>
          <a:xfrm>
            <a:off x="478972" y="3132423"/>
            <a:ext cx="163286" cy="15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1</a:t>
            </a:r>
          </a:p>
        </p:txBody>
      </p:sp>
      <p:sp>
        <p:nvSpPr>
          <p:cNvPr id="34" name="Oval 33"/>
          <p:cNvSpPr/>
          <p:nvPr/>
        </p:nvSpPr>
        <p:spPr>
          <a:xfrm>
            <a:off x="478972" y="4248209"/>
            <a:ext cx="163286" cy="15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2</a:t>
            </a:r>
          </a:p>
        </p:txBody>
      </p:sp>
      <p:sp>
        <p:nvSpPr>
          <p:cNvPr id="36" name="Oval 35"/>
          <p:cNvSpPr/>
          <p:nvPr/>
        </p:nvSpPr>
        <p:spPr>
          <a:xfrm>
            <a:off x="495300" y="4954873"/>
            <a:ext cx="163286" cy="15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3</a:t>
            </a:r>
          </a:p>
        </p:txBody>
      </p:sp>
      <p:sp>
        <p:nvSpPr>
          <p:cNvPr id="37" name="Oval 36"/>
          <p:cNvSpPr/>
          <p:nvPr/>
        </p:nvSpPr>
        <p:spPr>
          <a:xfrm>
            <a:off x="3374572" y="4280865"/>
            <a:ext cx="163286" cy="15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2</a:t>
            </a:r>
          </a:p>
        </p:txBody>
      </p:sp>
      <p:sp>
        <p:nvSpPr>
          <p:cNvPr id="38" name="Oval 37"/>
          <p:cNvSpPr/>
          <p:nvPr/>
        </p:nvSpPr>
        <p:spPr>
          <a:xfrm>
            <a:off x="6080806" y="4302638"/>
            <a:ext cx="163286" cy="15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2</a:t>
            </a:r>
          </a:p>
        </p:txBody>
      </p:sp>
      <p:sp>
        <p:nvSpPr>
          <p:cNvPr id="39" name="Oval 38"/>
          <p:cNvSpPr/>
          <p:nvPr/>
        </p:nvSpPr>
        <p:spPr>
          <a:xfrm>
            <a:off x="3374572" y="4954873"/>
            <a:ext cx="163286" cy="15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3</a:t>
            </a:r>
          </a:p>
        </p:txBody>
      </p:sp>
      <p:sp>
        <p:nvSpPr>
          <p:cNvPr id="40" name="Oval 39"/>
          <p:cNvSpPr/>
          <p:nvPr/>
        </p:nvSpPr>
        <p:spPr>
          <a:xfrm>
            <a:off x="6068786" y="4993880"/>
            <a:ext cx="163286" cy="15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3</a:t>
            </a:r>
          </a:p>
        </p:txBody>
      </p:sp>
      <p:sp>
        <p:nvSpPr>
          <p:cNvPr id="42" name="Oval 41"/>
          <p:cNvSpPr/>
          <p:nvPr/>
        </p:nvSpPr>
        <p:spPr>
          <a:xfrm>
            <a:off x="6085115" y="3170523"/>
            <a:ext cx="163286" cy="15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1</a:t>
            </a:r>
          </a:p>
        </p:txBody>
      </p:sp>
      <p:sp>
        <p:nvSpPr>
          <p:cNvPr id="43" name="Oval 42"/>
          <p:cNvSpPr/>
          <p:nvPr/>
        </p:nvSpPr>
        <p:spPr>
          <a:xfrm>
            <a:off x="3390900" y="3132423"/>
            <a:ext cx="163286" cy="15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ontserrat Medium"/>
                <a:ea typeface="+mn-ea"/>
                <a:cs typeface="+mn-cs"/>
              </a:rPr>
              <a:t>1</a:t>
            </a:r>
          </a:p>
        </p:txBody>
      </p:sp>
      <p:sp>
        <p:nvSpPr>
          <p:cNvPr id="6" name="TextBox 5"/>
          <p:cNvSpPr txBox="1"/>
          <p:nvPr/>
        </p:nvSpPr>
        <p:spPr>
          <a:xfrm>
            <a:off x="603024" y="3334716"/>
            <a:ext cx="2541814" cy="642257"/>
          </a:xfrm>
          <a:prstGeom prst="rect">
            <a:avLst/>
          </a:prstGeom>
          <a:noFill/>
        </p:spPr>
        <p:txBody>
          <a:bodyPr wrap="square" lIns="0" tIns="0" rIns="0" bIns="0" rtlCol="0">
            <a:noAutofit/>
          </a:bodyPr>
          <a:lstStyle/>
          <a:p>
            <a:pPr marL="0" marR="0" lvl="0" indent="0" algn="ctr" defTabSz="30597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Re-purpose and/or expand specific roles (PBL, </a:t>
            </a:r>
            <a:r>
              <a:rPr kumimoji="0" lang="en-US" sz="1100" b="0" i="0" u="none" strike="noStrike" kern="1200" cap="none" spc="0" normalizeH="0" baseline="0" noProof="0" dirty="0" err="1">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APLaS</a:t>
            </a:r>
            <a:r>
              <a:rPr kumimoji="0" lang="en-US" sz="110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 etc.) to </a:t>
            </a:r>
            <a:r>
              <a:rPr kumimoji="0" lang="en-US" sz="1100" b="1"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support </a:t>
            </a:r>
            <a:r>
              <a:rPr kumimoji="0" lang="en-US" sz="1100" b="0" i="0" u="none" strike="noStrike" kern="1200" cap="none" spc="0" normalizeH="0" baseline="0" noProof="0" dirty="0">
                <a:ln>
                  <a:noFill/>
                </a:ln>
                <a:solidFill>
                  <a:srgbClr val="000000"/>
                </a:solidFill>
                <a:effectLst/>
                <a:uLnTx/>
                <a:uFillTx/>
                <a:latin typeface="Montserrat Medium"/>
                <a:ea typeface="Open Sans Light" panose="020B0306030504020204" pitchFamily="34" charset="0"/>
                <a:cs typeface="Open Sans Light" panose="020B0306030504020204" pitchFamily="34" charset="0"/>
              </a:rPr>
              <a:t>launch from Term 1, 2021. </a:t>
            </a:r>
          </a:p>
        </p:txBody>
      </p:sp>
      <p:sp>
        <p:nvSpPr>
          <p:cNvPr id="46" name="Rectangle 45"/>
          <p:cNvSpPr/>
          <p:nvPr/>
        </p:nvSpPr>
        <p:spPr>
          <a:xfrm>
            <a:off x="500493" y="5701445"/>
            <a:ext cx="2778370" cy="43496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88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dirty="0">
                <a:ln>
                  <a:noFill/>
                </a:ln>
                <a:solidFill>
                  <a:srgbClr val="FFFFFF"/>
                </a:solidFill>
                <a:effectLst/>
                <a:uLnTx/>
                <a:uFillTx/>
                <a:latin typeface="Montserrat Medium"/>
                <a:ea typeface="+mn-ea"/>
                <a:cs typeface="+mn-cs"/>
              </a:rPr>
              <a:t>Alignment with Wellbeing Framework &amp; SEF</a:t>
            </a:r>
          </a:p>
        </p:txBody>
      </p:sp>
      <p:sp>
        <p:nvSpPr>
          <p:cNvPr id="47" name="Rectangle 46"/>
          <p:cNvSpPr/>
          <p:nvPr/>
        </p:nvSpPr>
        <p:spPr>
          <a:xfrm>
            <a:off x="3374322" y="5706888"/>
            <a:ext cx="2624841" cy="41944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88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dirty="0">
                <a:ln>
                  <a:noFill/>
                </a:ln>
                <a:solidFill>
                  <a:srgbClr val="FFFFFF"/>
                </a:solidFill>
                <a:effectLst/>
                <a:uLnTx/>
                <a:uFillTx/>
                <a:latin typeface="Montserrat Medium"/>
                <a:ea typeface="+mn-ea"/>
                <a:cs typeface="+mn-cs"/>
              </a:rPr>
              <a:t>Integration into school planning to achieve student outcomes</a:t>
            </a:r>
          </a:p>
        </p:txBody>
      </p:sp>
      <p:sp>
        <p:nvSpPr>
          <p:cNvPr id="48" name="Rectangle 47"/>
          <p:cNvSpPr/>
          <p:nvPr/>
        </p:nvSpPr>
        <p:spPr>
          <a:xfrm>
            <a:off x="6057900" y="5702128"/>
            <a:ext cx="2667000" cy="41944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88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dirty="0">
                <a:ln>
                  <a:noFill/>
                </a:ln>
                <a:solidFill>
                  <a:srgbClr val="FFFFFF"/>
                </a:solidFill>
                <a:effectLst/>
                <a:uLnTx/>
                <a:uFillTx/>
                <a:latin typeface="Montserrat Medium"/>
                <a:ea typeface="+mn-ea"/>
                <a:cs typeface="+mn-cs"/>
              </a:rPr>
              <a:t>Mature, fully integrated model to drive student impact</a:t>
            </a:r>
          </a:p>
        </p:txBody>
      </p:sp>
      <p:sp>
        <p:nvSpPr>
          <p:cNvPr id="50" name="Rectangle 49"/>
          <p:cNvSpPr/>
          <p:nvPr/>
        </p:nvSpPr>
        <p:spPr>
          <a:xfrm>
            <a:off x="8074152" y="210312"/>
            <a:ext cx="722376" cy="2651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FFFFFF"/>
                </a:solidFill>
                <a:effectLst/>
                <a:uLnTx/>
                <a:uFillTx/>
                <a:latin typeface="Montserrat Medium"/>
                <a:ea typeface="+mn-ea"/>
                <a:cs typeface="+mn-cs"/>
              </a:rPr>
              <a:t>DRAFT</a:t>
            </a:r>
          </a:p>
        </p:txBody>
      </p:sp>
    </p:spTree>
    <p:extLst>
      <p:ext uri="{BB962C8B-B14F-4D97-AF65-F5344CB8AC3E}">
        <p14:creationId xmlns:p14="http://schemas.microsoft.com/office/powerpoint/2010/main" val="16844935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MPROD_UIDATA" val="&lt;database version=&quot;11.0&quot;&gt;&lt;object type=&quot;1&quot; unique_id=&quot;10001&quot;&gt;&lt;object type=&quot;2&quot; unique_id=&quot;21398&quot;&gt;&lt;object type=&quot;3&quot; unique_id=&quot;21399&quot;&gt;&lt;property id=&quot;20148&quot; value=&quot;5&quot;/&gt;&lt;property id=&quot;20300&quot; value=&quot;Slide 1 - &amp;quot;  Executive Paper: Implementation of the Behaviour Strategy &amp;amp; Student Behaviour Policy&amp;quot;&quot;/&gt;&lt;property id=&quot;20307&quot; value=&quot;458&quot;/&gt;&lt;/object&gt;&lt;object type=&quot;3&quot; unique_id=&quot;21400&quot;&gt;&lt;property id=&quot;20148&quot; value=&quot;5&quot;/&gt;&lt;property id=&quot;20300&quot; value=&quot;Slide 2&quot;/&gt;&lt;property id=&quot;20307&quot; value=&quot;459&quot;/&gt;&lt;/object&gt;&lt;object type=&quot;3&quot; unique_id=&quot;21401&quot;&gt;&lt;property id=&quot;20148&quot; value=&quot;5&quot;/&gt;&lt;property id=&quot;20300&quot; value=&quot;Slide 3 - &amp;quot;Why do we need a new Behaviour Strategy?&amp;quot;&quot;/&gt;&lt;property id=&quot;20307&quot; value=&quot;460&quot;/&gt;&lt;/object&gt;&lt;object type=&quot;3&quot; unique_id=&quot;21402&quot;&gt;&lt;property id=&quot;20148&quot; value=&quot;5&quot;/&gt;&lt;property id=&quot;20300&quot; value=&quot;Slide 4 - &amp;quot;Situation overview&amp;quot;&quot;/&gt;&lt;property id=&quot;20307&quot; value=&quot;461&quot;/&gt;&lt;/object&gt;&lt;object type=&quot;3&quot; unique_id=&quot;21403&quot;&gt;&lt;property id=&quot;20148&quot; value=&quot;5&quot;/&gt;&lt;property id=&quot;20300&quot; value=&quot;Slide 5 - &amp;quot;Why do we need a new Behaviour Strategy? &amp;quot;&quot;/&gt;&lt;property id=&quot;20307&quot; value=&quot;462&quot;/&gt;&lt;/object&gt;&lt;object type=&quot;3&quot; unique_id=&quot;21404&quot;&gt;&lt;property id=&quot;20148&quot; value=&quot;5&quot;/&gt;&lt;property id=&quot;20300&quot; value=&quot;Slide 6 - &amp;quot;What is different across the new Strategy &amp;amp; Policy? &amp;quot;&quot;/&gt;&lt;property id=&quot;20307&quot; value=&quot;463&quot;/&gt;&lt;/object&gt;&lt;object type=&quot;3&quot; unique_id=&quot;21405&quot;&gt;&lt;property id=&quot;20148&quot; value=&quot;5&quot;/&gt;&lt;property id=&quot;20300&quot; value=&quot;Slide 7 - &amp;quot;Components of the Student Behaviour Strategy&amp;quot;&quot;/&gt;&lt;property id=&quot;20307&quot; value=&quot;464&quot;/&gt;&lt;/object&gt;&lt;object type=&quot;3&quot; unique_id=&quot;21406&quot;&gt;&lt;property id=&quot;20148&quot; value=&quot;5&quot;/&gt;&lt;property id=&quot;20300&quot; value=&quot;Slide 8 - &amp;quot;Strategy objectives&amp;quot;&quot;/&gt;&lt;property id=&quot;20307&quot; value=&quot;465&quot;/&gt;&lt;/object&gt;&lt;object type=&quot;3&quot; unique_id=&quot;21407&quot;&gt;&lt;property id=&quot;20148&quot; value=&quot;5&quot;/&gt;&lt;property id=&quot;20300&quot; value=&quot;Slide 9 - &amp;quot;The new Strategy will improve student outcomes &amp;quot;&quot;/&gt;&lt;property id=&quot;20307&quot; value=&quot;466&quot;/&gt;&lt;/object&gt;&lt;object type=&quot;3&quot; unique_id=&quot;21408&quot;&gt;&lt;property id=&quot;20148&quot; value=&quot;5&quot;/&gt;&lt;property id=&quot;20300&quot; value=&quot;Slide 10 - &amp;quot;Deliverables under the Student Behaviour Strategy &amp;quot;&quot;/&gt;&lt;property id=&quot;20307&quot; value=&quot;467&quot;/&gt;&lt;/object&gt;&lt;object type=&quot;3&quot; unique_id=&quot;21409&quot;&gt;&lt;property id=&quot;20148&quot; value=&quot;5&quot;/&gt;&lt;property id=&quot;20300&quot; value=&quot;Slide 11 - &amp;quot;Content changes across the Policy &amp;amp; Procedures &amp;quot;&quot;/&gt;&lt;property id=&quot;20307&quot; value=&quot;468&quot;/&gt;&lt;/object&gt;&lt;object type=&quot;3&quot; unique_id=&quot;21410&quot;&gt;&lt;property id=&quot;20148&quot; value=&quot;5&quot;/&gt;&lt;property id=&quot;20300&quot; value=&quot;Slide 12 - &amp;quot;What will on-ground support and school level changes look like? &amp;quot;&quot;/&gt;&lt;property id=&quot;20307&quot; value=&quot;469&quot;/&gt;&lt;/object&gt;&lt;object type=&quot;3&quot; unique_id=&quot;21411&quot;&gt;&lt;property id=&quot;20148&quot; value=&quot;5&quot;/&gt;&lt;property id=&quot;20300&quot; value=&quot;Slide 13 - &amp;quot;Robust on-ground support for schools&amp;quot;&quot;/&gt;&lt;property id=&quot;20307&quot; value=&quot;471&quot;/&gt;&lt;/object&gt;&lt;object type=&quot;3&quot; unique_id=&quot;21412&quot;&gt;&lt;property id=&quot;20148&quot; value=&quot;5&quot;/&gt;&lt;property id=&quot;20300&quot; value=&quot;Slide 14 - &amp;quot;We will optimise existing resources to support schools&amp;quot;&quot;/&gt;&lt;property id=&quot;20307&quot; value=&quot;490&quot;/&gt;&lt;/object&gt;&lt;object type=&quot;3&quot; unique_id=&quot;21413&quot;&gt;&lt;property id=&quot;20148&quot; value=&quot;5&quot;/&gt;&lt;property id=&quot;20300&quot; value=&quot;Slide 15 - &amp;quot;What will change look like across schools?&amp;quot;&quot;/&gt;&lt;property id=&quot;20307&quot; value=&quot;470&quot;/&gt;&lt;/object&gt;&lt;object type=&quot;3&quot; unique_id=&quot;21414&quot;&gt;&lt;property id=&quot;20148&quot; value=&quot;5&quot;/&gt;&lt;property id=&quot;20300&quot; value=&quot;Slide 16 - &amp;quot;What will change look like for Aboriginal students?&amp;quot;&quot;/&gt;&lt;property id=&quot;20307&quot; value=&quot;487&quot;/&gt;&lt;/object&gt;&lt;object type=&quot;3&quot; unique_id=&quot;21415&quot;&gt;&lt;property id=&quot;20148&quot; value=&quot;5&quot;/&gt;&lt;property id=&quot;20300&quot; value=&quot;Slide 17 - &amp;quot;What will change look like for students in out-of-home care?&amp;quot;&quot;/&gt;&lt;property id=&quot;20307&quot; value=&quot;488&quot;/&gt;&lt;/object&gt;&lt;object type=&quot;3&quot; unique_id=&quot;21416&quot;&gt;&lt;property id=&quot;20148&quot; value=&quot;5&quot;/&gt;&lt;property id=&quot;20300&quot; value=&quot;Slide 18 - &amp;quot;What will change look like for students with disability?&amp;quot;&quot;/&gt;&lt;property id=&quot;20307&quot; value=&quot;489&quot;/&gt;&lt;/object&gt;&lt;object type=&quot;3&quot; unique_id=&quot;21417&quot;&gt;&lt;property id=&quot;20148&quot; value=&quot;5&quot;/&gt;&lt;property id=&quot;20300&quot; value=&quot;Slide 19 - &amp;quot;Ongoing support for ‘at risk’ students&amp;quot;&quot;/&gt;&lt;property id=&quot;20307&quot; value=&quot;492&quot;/&gt;&lt;/object&gt;&lt;object type=&quot;3&quot; unique_id=&quot;21418&quot;&gt;&lt;property id=&quot;20148&quot; value=&quot;5&quot;/&gt;&lt;property id=&quot;20300&quot; value=&quot;Slide 20 - &amp;quot;How will we implement the new Strategy &amp;amp; Policy?&amp;quot;&quot;/&gt;&lt;property id=&quot;20307&quot; value=&quot;473&quot;/&gt;&lt;/object&gt;&lt;object type=&quot;3&quot; unique_id=&quot;21419&quot;&gt;&lt;property id=&quot;20148&quot; value=&quot;5&quot;/&gt;&lt;property id=&quot;20300&quot; value=&quot;Slide 21 - &amp;quot;Timeline of milestones &amp;amp; deliverables&amp;quot;&quot;/&gt;&lt;property id=&quot;20307&quot; value=&quot;491&quot;/&gt;&lt;/object&gt;&lt;object type=&quot;3&quot; unique_id=&quot;21420&quot;&gt;&lt;property id=&quot;20148&quot; value=&quot;5&quot;/&gt;&lt;property id=&quot;20300&quot; value=&quot;Slide 22 - &amp;quot;How will we manage change, engage people &amp;amp; build support?&amp;quot;&quot;/&gt;&lt;property id=&quot;20307&quot; value=&quot;477&quot;/&gt;&lt;/object&gt;&lt;object type=&quot;3&quot; unique_id=&quot;21421&quot;&gt;&lt;property id=&quot;20148&quot; value=&quot;5&quot;/&gt;&lt;property id=&quot;20300&quot; value=&quot;Slide 23 - &amp;quot;Communications &amp;amp; engagement&amp;quot;&quot;/&gt;&lt;property id=&quot;20307&quot; value=&quot;478&quot;/&gt;&lt;/object&gt;&lt;object type=&quot;3&quot; unique_id=&quot;21422&quot;&gt;&lt;property id=&quot;20148&quot; value=&quot;5&quot;/&gt;&lt;property id=&quot;20300&quot; value=&quot;Slide 24 - &amp;quot;Building stakeholder confidence &amp;quot;&quot;/&gt;&lt;property id=&quot;20307&quot; value=&quot;479&quot;/&gt;&lt;/object&gt;&lt;object type=&quot;3&quot; unique_id=&quot;21423&quot;&gt;&lt;property id=&quot;20148&quot; value=&quot;5&quot;/&gt;&lt;property id=&quot;20300&quot; value=&quot;Slide 25 - &amp;quot;How will we monitor progress and measure impact?&amp;quot;&quot;/&gt;&lt;property id=&quot;20307&quot; value=&quot;480&quot;/&gt;&lt;/object&gt;&lt;object type=&quot;3&quot; unique_id=&quot;21424&quot;&gt;&lt;property id=&quot;20148&quot; value=&quot;5&quot;/&gt;&lt;property id=&quot;20300&quot; value=&quot;Slide 26 - &amp;quot;Evaluating &amp;amp; measuring impact&amp;quot;&quot;/&gt;&lt;property id=&quot;20307&quot; value=&quot;481&quot;/&gt;&lt;/object&gt;&lt;/object&gt;&lt;object type=&quot;8&quot; unique_id=&quot;21452&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q9Lwi2ybBgki8YNW9ZL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q9Lwi2ybBgki8YNW9ZL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4H3bHh25pk9QFSP0X62wQ"/>
</p:tagLst>
</file>

<file path=ppt/theme/theme1.xml><?xml version="1.0" encoding="utf-8"?>
<a:theme xmlns:a="http://schemas.openxmlformats.org/drawingml/2006/main" name="3_Office Theme">
  <a:themeElements>
    <a:clrScheme name="DoE">
      <a:dk1>
        <a:srgbClr val="000000"/>
      </a:dk1>
      <a:lt1>
        <a:srgbClr val="FFFFFF"/>
      </a:lt1>
      <a:dk2>
        <a:srgbClr val="041E42"/>
      </a:dk2>
      <a:lt2>
        <a:srgbClr val="C8DCF0"/>
      </a:lt2>
      <a:accent1>
        <a:srgbClr val="1D428A"/>
      </a:accent1>
      <a:accent2>
        <a:srgbClr val="407EC9"/>
      </a:accent2>
      <a:accent3>
        <a:srgbClr val="6CACE4"/>
      </a:accent3>
      <a:accent4>
        <a:srgbClr val="C8DCF0"/>
      </a:accent4>
      <a:accent5>
        <a:srgbClr val="CE0037"/>
      </a:accent5>
      <a:accent6>
        <a:srgbClr val="F3B8B5"/>
      </a:accent6>
      <a:hlink>
        <a:srgbClr val="385E9D"/>
      </a:hlink>
      <a:folHlink>
        <a:srgbClr val="6CACE4"/>
      </a:folHlink>
    </a:clrScheme>
    <a:fontScheme name="DoE">
      <a:majorFont>
        <a:latin typeface="Montserrat SemiBold"/>
        <a:ea typeface=""/>
        <a:cs typeface=""/>
      </a:majorFont>
      <a:minorFont>
        <a:latin typeface="Montserrat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custClrLst>
    <a:custClr name="Corporate 1">
      <a:srgbClr val="19233E"/>
    </a:custClr>
    <a:custClr name="Corporate 2">
      <a:srgbClr val="D70C3D"/>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Teachers/Parents 1">
      <a:srgbClr val="1D428A"/>
    </a:custClr>
    <a:custClr name="Teachers/Parents 2">
      <a:srgbClr val="385E9D"/>
    </a:custClr>
    <a:custClr name="Teachers/Parents 3">
      <a:srgbClr val="407EC9"/>
    </a:custClr>
    <a:custClr name="Teachers/Parents 4">
      <a:srgbClr val="6CACE4"/>
    </a:custClr>
    <a:custClr name="Teachers/Parents 5">
      <a:srgbClr val="C8C9C7"/>
    </a:custClr>
    <a:custClr name="Teachers/Parents 6">
      <a:srgbClr val="E6E7EA"/>
    </a:custClr>
    <a:custClr name="Teachers/Parents 7">
      <a:srgbClr val="9D2235"/>
    </a:custClr>
    <a:custClr name="BLANK">
      <a:srgbClr val="FFFFFF"/>
    </a:custClr>
    <a:custClr name="BLANK">
      <a:srgbClr val="FFFFFF"/>
    </a:custClr>
    <a:custClr name="BLANK">
      <a:srgbClr val="FFFFFF"/>
    </a:custClr>
    <a:custClr name="Students 1">
      <a:srgbClr val="A4C8E1"/>
    </a:custClr>
    <a:custClr name="Students 2">
      <a:srgbClr val="C6DAE7"/>
    </a:custClr>
    <a:custClr name="Students 3">
      <a:srgbClr val="E56A54"/>
    </a:custClr>
    <a:custClr name="Students 4">
      <a:srgbClr val="E9C4C7"/>
    </a:custClr>
  </a:custClrLst>
  <a:extLst>
    <a:ext uri="{05A4C25C-085E-4340-85A3-A5531E510DB2}">
      <thm15:themeFamily xmlns:thm15="http://schemas.microsoft.com/office/thememl/2012/main" name="AC_DoE_Powerpoint_standard" id="{64DF3AA6-BEA9-6548-A597-2391405E6150}" vid="{4A2BB9A1-E594-A340-9B14-654186B6AA56}"/>
    </a:ext>
  </a:extLst>
</a:theme>
</file>

<file path=ppt/theme/theme2.xml><?xml version="1.0" encoding="utf-8"?>
<a:theme xmlns:a="http://schemas.openxmlformats.org/drawingml/2006/main" name="4_Office Theme">
  <a:themeElements>
    <a:clrScheme name="DoE">
      <a:dk1>
        <a:srgbClr val="000000"/>
      </a:dk1>
      <a:lt1>
        <a:srgbClr val="FFFFFF"/>
      </a:lt1>
      <a:dk2>
        <a:srgbClr val="041E42"/>
      </a:dk2>
      <a:lt2>
        <a:srgbClr val="C8DCF0"/>
      </a:lt2>
      <a:accent1>
        <a:srgbClr val="1D428A"/>
      </a:accent1>
      <a:accent2>
        <a:srgbClr val="407EC9"/>
      </a:accent2>
      <a:accent3>
        <a:srgbClr val="6CACE4"/>
      </a:accent3>
      <a:accent4>
        <a:srgbClr val="C8DCF0"/>
      </a:accent4>
      <a:accent5>
        <a:srgbClr val="CE0037"/>
      </a:accent5>
      <a:accent6>
        <a:srgbClr val="F3B8B5"/>
      </a:accent6>
      <a:hlink>
        <a:srgbClr val="385E9D"/>
      </a:hlink>
      <a:folHlink>
        <a:srgbClr val="6CACE4"/>
      </a:folHlink>
    </a:clrScheme>
    <a:fontScheme name="DoE">
      <a:majorFont>
        <a:latin typeface="Montserrat SemiBold"/>
        <a:ea typeface=""/>
        <a:cs typeface=""/>
      </a:majorFont>
      <a:minorFont>
        <a:latin typeface="Montserrat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custClrLst>
    <a:custClr name="Corporate 1">
      <a:srgbClr val="19233E"/>
    </a:custClr>
    <a:custClr name="Corporate 2">
      <a:srgbClr val="D70C3D"/>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Teachers/Parents 1">
      <a:srgbClr val="1D428A"/>
    </a:custClr>
    <a:custClr name="Teachers/Parents 2">
      <a:srgbClr val="385E9D"/>
    </a:custClr>
    <a:custClr name="Teachers/Parents 3">
      <a:srgbClr val="407EC9"/>
    </a:custClr>
    <a:custClr name="Teachers/Parents 4">
      <a:srgbClr val="6CACE4"/>
    </a:custClr>
    <a:custClr name="Teachers/Parents 5">
      <a:srgbClr val="C8C9C7"/>
    </a:custClr>
    <a:custClr name="Teachers/Parents 6">
      <a:srgbClr val="E6E7EA"/>
    </a:custClr>
    <a:custClr name="Teachers/Parents 7">
      <a:srgbClr val="9D2235"/>
    </a:custClr>
    <a:custClr name="BLANK">
      <a:srgbClr val="FFFFFF"/>
    </a:custClr>
    <a:custClr name="BLANK">
      <a:srgbClr val="FFFFFF"/>
    </a:custClr>
    <a:custClr name="BLANK">
      <a:srgbClr val="FFFFFF"/>
    </a:custClr>
    <a:custClr name="Students 1">
      <a:srgbClr val="A4C8E1"/>
    </a:custClr>
    <a:custClr name="Students 2">
      <a:srgbClr val="C6DAE7"/>
    </a:custClr>
    <a:custClr name="Students 3">
      <a:srgbClr val="E56A54"/>
    </a:custClr>
    <a:custClr name="Students 4">
      <a:srgbClr val="E9C4C7"/>
    </a:custClr>
  </a:custClrLst>
  <a:extLst>
    <a:ext uri="{05A4C25C-085E-4340-85A3-A5531E510DB2}">
      <thm15:themeFamily xmlns:thm15="http://schemas.microsoft.com/office/thememl/2012/main" name="AC_DoE_Powerpoint_standard" id="{64DF3AA6-BEA9-6548-A597-2391405E6150}" vid="{4A2BB9A1-E594-A340-9B14-654186B6AA5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AC094962A3543448F10C297C09B44E7" ma:contentTypeVersion="12" ma:contentTypeDescription="Create a new document." ma:contentTypeScope="" ma:versionID="c74e5ae3e8b886be4a8d4ebb35192621">
  <xsd:schema xmlns:xsd="http://www.w3.org/2001/XMLSchema" xmlns:xs="http://www.w3.org/2001/XMLSchema" xmlns:p="http://schemas.microsoft.com/office/2006/metadata/properties" xmlns:ns2="9af831f7-421f-4044-9ca9-1fe7eeffc760" xmlns:ns3="2252a552-c5a1-4a23-a5fb-791fa4daf229" targetNamespace="http://schemas.microsoft.com/office/2006/metadata/properties" ma:root="true" ma:fieldsID="34f800dbeb97354f2542458e38e999fe" ns2:_="" ns3:_="">
    <xsd:import namespace="9af831f7-421f-4044-9ca9-1fe7eeffc760"/>
    <xsd:import namespace="2252a552-c5a1-4a23-a5fb-791fa4daf229"/>
    <xsd:element name="properties">
      <xsd:complexType>
        <xsd:sequence>
          <xsd:element name="documentManagement">
            <xsd:complexType>
              <xsd:all>
                <xsd:element ref="ns2:MediaServiceMetadata" minOccurs="0"/>
                <xsd:element ref="ns2:MediaServiceFastMetadata" minOccurs="0"/>
                <xsd:element ref="ns2:MediaServiceAutoTags"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Locatio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f831f7-421f-4044-9ca9-1fe7eeffc7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252a552-c5a1-4a23-a5fb-791fa4daf22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164A8F-45E1-4993-8940-86B424C23410}"/>
</file>

<file path=customXml/itemProps2.xml><?xml version="1.0" encoding="utf-8"?>
<ds:datastoreItem xmlns:ds="http://schemas.openxmlformats.org/officeDocument/2006/customXml" ds:itemID="{C0E9423F-F402-429E-8FF3-33971DEA1BF4}">
  <ds:schemaRefs>
    <ds:schemaRef ds:uri="http://schemas.microsoft.com/office/infopath/2007/PartnerControls"/>
    <ds:schemaRef ds:uri="http://purl.org/dc/terms/"/>
    <ds:schemaRef ds:uri="http://purl.org/dc/dcmitype/"/>
    <ds:schemaRef ds:uri="1b002394-62d3-4b97-94ed-d9b41b987b5a"/>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95e100ae-8ff5-48dd-bff1-61c5d2732948"/>
    <ds:schemaRef ds:uri="http://www.w3.org/XML/1998/namespace"/>
  </ds:schemaRefs>
</ds:datastoreItem>
</file>

<file path=customXml/itemProps3.xml><?xml version="1.0" encoding="utf-8"?>
<ds:datastoreItem xmlns:ds="http://schemas.openxmlformats.org/officeDocument/2006/customXml" ds:itemID="{D553109E-6805-46A9-BC51-A032331C2FB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C_DoE_Powerpoint_standard</Template>
  <TotalTime>9885</TotalTime>
  <Words>1281</Words>
  <Application>Microsoft Office PowerPoint</Application>
  <PresentationFormat>On-screen Show (4:3)</PresentationFormat>
  <Paragraphs>126</Paragraphs>
  <Slides>7</Slides>
  <Notes>1</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7" baseType="lpstr">
      <vt:lpstr>Arial</vt:lpstr>
      <vt:lpstr>Calibri</vt:lpstr>
      <vt:lpstr>Courier New</vt:lpstr>
      <vt:lpstr>Gill Sans</vt:lpstr>
      <vt:lpstr>Lato Light</vt:lpstr>
      <vt:lpstr>League Spartan</vt:lpstr>
      <vt:lpstr>Montserrat Medium</vt:lpstr>
      <vt:lpstr>Montserrat SemiBold</vt:lpstr>
      <vt:lpstr>Mukta ExtraLight</vt:lpstr>
      <vt:lpstr>Nunito Sans ExtraLight</vt:lpstr>
      <vt:lpstr>Open Sans Light</vt:lpstr>
      <vt:lpstr>Poppins</vt:lpstr>
      <vt:lpstr>Poppins Light</vt:lpstr>
      <vt:lpstr>Raleway Light</vt:lpstr>
      <vt:lpstr>Roboto Light</vt:lpstr>
      <vt:lpstr>Rubik Light</vt:lpstr>
      <vt:lpstr>Times New Roman</vt:lpstr>
      <vt:lpstr>3_Office Theme</vt:lpstr>
      <vt:lpstr>4_Office Theme</vt:lpstr>
      <vt:lpstr>think-cell Slide</vt:lpstr>
      <vt:lpstr>  PPA State Council  Draft Behaviour Strategy for Consultation</vt:lpstr>
      <vt:lpstr>Our ways of working to drive this key reform </vt:lpstr>
      <vt:lpstr>Our reform direction under the new Student Behaviour Strategy  </vt:lpstr>
      <vt:lpstr>An integrated package of support for schools</vt:lpstr>
      <vt:lpstr>The Behaviour Specialist positions</vt:lpstr>
      <vt:lpstr>Other support available to schools to implement the Policy &amp; Procedures </vt:lpstr>
      <vt:lpstr>The new Behaviour Strategy will be implemented in phases</vt:lpstr>
    </vt:vector>
  </TitlesOfParts>
  <Company>NSW Department of Educ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weta Pandit Dey</dc:creator>
  <cp:lastModifiedBy>Ben Ballard</cp:lastModifiedBy>
  <cp:revision>872</cp:revision>
  <cp:lastPrinted>2020-06-28T21:26:33Z</cp:lastPrinted>
  <dcterms:created xsi:type="dcterms:W3CDTF">2019-09-23T03:49:57Z</dcterms:created>
  <dcterms:modified xsi:type="dcterms:W3CDTF">2020-09-04T03:3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C094962A3543448F10C297C09B44E7</vt:lpwstr>
  </property>
  <property fmtid="{D5CDD505-2E9C-101B-9397-08002B2CF9AE}" pid="3" name="_ReviewCycleID">
    <vt:i4>-1521473393</vt:i4>
  </property>
  <property fmtid="{D5CDD505-2E9C-101B-9397-08002B2CF9AE}" pid="4" name="_NewReviewCycle">
    <vt:lpwstr/>
  </property>
</Properties>
</file>